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1" r:id="rId1"/>
    <p:sldMasterId id="2147483911" r:id="rId2"/>
    <p:sldMasterId id="2147483949" r:id="rId3"/>
  </p:sldMasterIdLst>
  <p:notesMasterIdLst>
    <p:notesMasterId r:id="rId24"/>
  </p:notesMasterIdLst>
  <p:handoutMasterIdLst>
    <p:handoutMasterId r:id="rId25"/>
  </p:handoutMasterIdLst>
  <p:sldIdLst>
    <p:sldId id="4600" r:id="rId4"/>
    <p:sldId id="2147196799" r:id="rId5"/>
    <p:sldId id="2147196791" r:id="rId6"/>
    <p:sldId id="2147196790" r:id="rId7"/>
    <p:sldId id="2147196800" r:id="rId8"/>
    <p:sldId id="2147196812" r:id="rId9"/>
    <p:sldId id="2147196813" r:id="rId10"/>
    <p:sldId id="2147196802" r:id="rId11"/>
    <p:sldId id="2147196803" r:id="rId12"/>
    <p:sldId id="2147196804" r:id="rId13"/>
    <p:sldId id="2147196807" r:id="rId14"/>
    <p:sldId id="2147196805" r:id="rId15"/>
    <p:sldId id="2147196806" r:id="rId16"/>
    <p:sldId id="2147196801" r:id="rId17"/>
    <p:sldId id="2147196808" r:id="rId18"/>
    <p:sldId id="2147196809" r:id="rId19"/>
    <p:sldId id="2147196810" r:id="rId20"/>
    <p:sldId id="2147196814" r:id="rId21"/>
    <p:sldId id="2147196811" r:id="rId22"/>
    <p:sldId id="2147196794" r:id="rId23"/>
  </p:sldIdLst>
  <p:sldSz cx="12192000" cy="6858000"/>
  <p:notesSz cx="6858000" cy="9144000"/>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600"/>
            <p14:sldId id="2147196799"/>
            <p14:sldId id="2147196791"/>
            <p14:sldId id="2147196790"/>
            <p14:sldId id="2147196800"/>
            <p14:sldId id="2147196812"/>
            <p14:sldId id="2147196813"/>
            <p14:sldId id="2147196802"/>
            <p14:sldId id="2147196803"/>
            <p14:sldId id="2147196804"/>
            <p14:sldId id="2147196807"/>
            <p14:sldId id="2147196805"/>
            <p14:sldId id="2147196806"/>
            <p14:sldId id="2147196801"/>
            <p14:sldId id="2147196808"/>
            <p14:sldId id="2147196809"/>
            <p14:sldId id="2147196810"/>
            <p14:sldId id="2147196814"/>
            <p14:sldId id="2147196811"/>
            <p14:sldId id="214719679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listoyanova, Nedyalka" initials="DN" lastIdx="7" clrIdx="0">
    <p:extLst>
      <p:ext uri="{19B8F6BF-5375-455C-9EA6-DF929625EA0E}">
        <p15:presenceInfo xmlns:p15="http://schemas.microsoft.com/office/powerpoint/2012/main" userId="S::nedyalka.delistoyanova@capgemini.com::c959921d-a39e-45bd-bf87-29807011cc13" providerId="AD"/>
      </p:ext>
    </p:extLst>
  </p:cmAuthor>
  <p:cmAuthor id="2" name="Helland, Marit" initials="HM" lastIdx="2" clrIdx="1">
    <p:extLst>
      <p:ext uri="{19B8F6BF-5375-455C-9EA6-DF929625EA0E}">
        <p15:presenceInfo xmlns:p15="http://schemas.microsoft.com/office/powerpoint/2012/main" userId="S::marit.helland@capgemini.com::3cfaa9a9-de5d-4c10-886d-fec79ec563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9F2"/>
    <a:srgbClr val="FF7E83"/>
    <a:srgbClr val="4701A7"/>
    <a:srgbClr val="0070AD"/>
    <a:srgbClr val="2B0A3D"/>
    <a:srgbClr val="00C37B"/>
    <a:srgbClr val="95E616"/>
    <a:srgbClr val="FF6327"/>
    <a:srgbClr val="01D1D0"/>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516F74-8675-48F5-90B4-46CE281DC87A}" v="2322" dt="2021-09-29T09:49:42.3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8" autoAdjust="0"/>
    <p:restoredTop sz="95226" autoAdjust="0"/>
  </p:normalViewPr>
  <p:slideViewPr>
    <p:cSldViewPr>
      <p:cViewPr varScale="1">
        <p:scale>
          <a:sx n="82" d="100"/>
          <a:sy n="82" d="100"/>
        </p:scale>
        <p:origin x="557"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attås, Johan Ludvig" userId="07156f80-05ad-490f-8d18-32a2a8907af8" providerId="ADAL" clId="{B1516F74-8675-48F5-90B4-46CE281DC87A}"/>
    <pc:docChg chg="undo redo custSel addSld delSld modSld sldOrd modMainMaster modSection">
      <pc:chgData name="Brattås, Johan Ludvig" userId="07156f80-05ad-490f-8d18-32a2a8907af8" providerId="ADAL" clId="{B1516F74-8675-48F5-90B4-46CE281DC87A}" dt="2021-09-29T20:35:49.242" v="3485" actId="47"/>
      <pc:docMkLst>
        <pc:docMk/>
      </pc:docMkLst>
      <pc:sldChg chg="modSp add del">
        <pc:chgData name="Brattås, Johan Ludvig" userId="07156f80-05ad-490f-8d18-32a2a8907af8" providerId="ADAL" clId="{B1516F74-8675-48F5-90B4-46CE281DC87A}" dt="2021-09-28T21:20:19.883" v="2606" actId="47"/>
        <pc:sldMkLst>
          <pc:docMk/>
          <pc:sldMk cId="1664940240" sldId="411"/>
        </pc:sldMkLst>
        <pc:spChg chg="mod">
          <ac:chgData name="Brattås, Johan Ludvig" userId="07156f80-05ad-490f-8d18-32a2a8907af8" providerId="ADAL" clId="{B1516F74-8675-48F5-90B4-46CE281DC87A}" dt="2021-09-28T19:54:23.772" v="286"/>
          <ac:spMkLst>
            <pc:docMk/>
            <pc:sldMk cId="1664940240" sldId="411"/>
            <ac:spMk id="2" creationId="{6408A710-4559-4176-AA27-55FB38CA6355}"/>
          </ac:spMkLst>
        </pc:spChg>
      </pc:sldChg>
      <pc:sldChg chg="modSp add del">
        <pc:chgData name="Brattås, Johan Ludvig" userId="07156f80-05ad-490f-8d18-32a2a8907af8" providerId="ADAL" clId="{B1516F74-8675-48F5-90B4-46CE281DC87A}" dt="2021-09-28T21:20:19.883" v="2606" actId="47"/>
        <pc:sldMkLst>
          <pc:docMk/>
          <pc:sldMk cId="103982370" sldId="412"/>
        </pc:sldMkLst>
        <pc:spChg chg="mod">
          <ac:chgData name="Brattås, Johan Ludvig" userId="07156f80-05ad-490f-8d18-32a2a8907af8" providerId="ADAL" clId="{B1516F74-8675-48F5-90B4-46CE281DC87A}" dt="2021-09-28T19:54:23.772" v="286"/>
          <ac:spMkLst>
            <pc:docMk/>
            <pc:sldMk cId="103982370" sldId="412"/>
            <ac:spMk id="2" creationId="{66B20FD1-8745-422F-B58C-B3F26580EE8E}"/>
          </ac:spMkLst>
        </pc:spChg>
      </pc:sldChg>
      <pc:sldChg chg="modSp add del">
        <pc:chgData name="Brattås, Johan Ludvig" userId="07156f80-05ad-490f-8d18-32a2a8907af8" providerId="ADAL" clId="{B1516F74-8675-48F5-90B4-46CE281DC87A}" dt="2021-09-28T21:20:19.883" v="2606" actId="47"/>
        <pc:sldMkLst>
          <pc:docMk/>
          <pc:sldMk cId="2834676222" sldId="414"/>
        </pc:sldMkLst>
        <pc:spChg chg="mod">
          <ac:chgData name="Brattås, Johan Ludvig" userId="07156f80-05ad-490f-8d18-32a2a8907af8" providerId="ADAL" clId="{B1516F74-8675-48F5-90B4-46CE281DC87A}" dt="2021-09-28T19:54:23.772" v="286"/>
          <ac:spMkLst>
            <pc:docMk/>
            <pc:sldMk cId="2834676222" sldId="414"/>
            <ac:spMk id="2" creationId="{F8061BB3-5856-4523-845B-52E6CEFE4603}"/>
          </ac:spMkLst>
        </pc:spChg>
      </pc:sldChg>
      <pc:sldChg chg="modSp add del">
        <pc:chgData name="Brattås, Johan Ludvig" userId="07156f80-05ad-490f-8d18-32a2a8907af8" providerId="ADAL" clId="{B1516F74-8675-48F5-90B4-46CE281DC87A}" dt="2021-09-28T21:20:19.883" v="2606" actId="47"/>
        <pc:sldMkLst>
          <pc:docMk/>
          <pc:sldMk cId="509291443" sldId="417"/>
        </pc:sldMkLst>
        <pc:spChg chg="mod">
          <ac:chgData name="Brattås, Johan Ludvig" userId="07156f80-05ad-490f-8d18-32a2a8907af8" providerId="ADAL" clId="{B1516F74-8675-48F5-90B4-46CE281DC87A}" dt="2021-09-28T19:54:23.772" v="286"/>
          <ac:spMkLst>
            <pc:docMk/>
            <pc:sldMk cId="509291443" sldId="417"/>
            <ac:spMk id="2" creationId="{66B20FD1-8745-422F-B58C-B3F26580EE8E}"/>
          </ac:spMkLst>
        </pc:spChg>
      </pc:sldChg>
      <pc:sldChg chg="modSp mod">
        <pc:chgData name="Brattås, Johan Ludvig" userId="07156f80-05ad-490f-8d18-32a2a8907af8" providerId="ADAL" clId="{B1516F74-8675-48F5-90B4-46CE281DC87A}" dt="2021-09-28T11:23:41.684" v="8" actId="20577"/>
        <pc:sldMkLst>
          <pc:docMk/>
          <pc:sldMk cId="3808046457" sldId="4600"/>
        </pc:sldMkLst>
        <pc:spChg chg="mod">
          <ac:chgData name="Brattås, Johan Ludvig" userId="07156f80-05ad-490f-8d18-32a2a8907af8" providerId="ADAL" clId="{B1516F74-8675-48F5-90B4-46CE281DC87A}" dt="2021-09-28T11:23:30.203" v="5" actId="14100"/>
          <ac:spMkLst>
            <pc:docMk/>
            <pc:sldMk cId="3808046457" sldId="4600"/>
            <ac:spMk id="2" creationId="{A786BA40-1D6B-456F-AEB4-E0871CCD6D98}"/>
          </ac:spMkLst>
        </pc:spChg>
        <pc:spChg chg="mod">
          <ac:chgData name="Brattås, Johan Ludvig" userId="07156f80-05ad-490f-8d18-32a2a8907af8" providerId="ADAL" clId="{B1516F74-8675-48F5-90B4-46CE281DC87A}" dt="2021-09-28T11:23:41.684" v="8" actId="20577"/>
          <ac:spMkLst>
            <pc:docMk/>
            <pc:sldMk cId="3808046457" sldId="4600"/>
            <ac:spMk id="3" creationId="{D7CEF133-7E30-4CA7-A306-FFB21EF68ADE}"/>
          </ac:spMkLst>
        </pc:spChg>
      </pc:sldChg>
      <pc:sldChg chg="del">
        <pc:chgData name="Brattås, Johan Ludvig" userId="07156f80-05ad-490f-8d18-32a2a8907af8" providerId="ADAL" clId="{B1516F74-8675-48F5-90B4-46CE281DC87A}" dt="2021-09-29T20:35:49.242" v="3485" actId="47"/>
        <pc:sldMkLst>
          <pc:docMk/>
          <pc:sldMk cId="2223361315" sldId="2147196781"/>
        </pc:sldMkLst>
      </pc:sldChg>
      <pc:sldChg chg="addSp delSp modSp mod setBg modAnim">
        <pc:chgData name="Brattås, Johan Ludvig" userId="07156f80-05ad-490f-8d18-32a2a8907af8" providerId="ADAL" clId="{B1516F74-8675-48F5-90B4-46CE281DC87A}" dt="2021-09-29T09:49:42.382" v="3484"/>
        <pc:sldMkLst>
          <pc:docMk/>
          <pc:sldMk cId="3540191114" sldId="2147196790"/>
        </pc:sldMkLst>
        <pc:spChg chg="mod">
          <ac:chgData name="Brattås, Johan Ludvig" userId="07156f80-05ad-490f-8d18-32a2a8907af8" providerId="ADAL" clId="{B1516F74-8675-48F5-90B4-46CE281DC87A}" dt="2021-09-28T20:16:51.511" v="559" actId="26606"/>
          <ac:spMkLst>
            <pc:docMk/>
            <pc:sldMk cId="3540191114" sldId="2147196790"/>
            <ac:spMk id="2" creationId="{66B20FD1-8745-422F-B58C-B3F26580EE8E}"/>
          </ac:spMkLst>
        </pc:spChg>
        <pc:spChg chg="mod ord">
          <ac:chgData name="Brattås, Johan Ludvig" userId="07156f80-05ad-490f-8d18-32a2a8907af8" providerId="ADAL" clId="{B1516F74-8675-48F5-90B4-46CE281DC87A}" dt="2021-09-29T09:49:42.382" v="3484"/>
          <ac:spMkLst>
            <pc:docMk/>
            <pc:sldMk cId="3540191114" sldId="2147196790"/>
            <ac:spMk id="3" creationId="{C1CD9C78-243A-45F6-B85A-F825D05D22AD}"/>
          </ac:spMkLst>
        </pc:spChg>
        <pc:spChg chg="add del">
          <ac:chgData name="Brattås, Johan Ludvig" userId="07156f80-05ad-490f-8d18-32a2a8907af8" providerId="ADAL" clId="{B1516F74-8675-48F5-90B4-46CE281DC87A}" dt="2021-09-28T20:02:20.473" v="308" actId="26606"/>
          <ac:spMkLst>
            <pc:docMk/>
            <pc:sldMk cId="3540191114" sldId="2147196790"/>
            <ac:spMk id="10" creationId="{B86EEAC6-011F-4499-ACFF-2FDC742DB06D}"/>
          </ac:spMkLst>
        </pc:spChg>
        <pc:spChg chg="add del">
          <ac:chgData name="Brattås, Johan Ludvig" userId="07156f80-05ad-490f-8d18-32a2a8907af8" providerId="ADAL" clId="{B1516F74-8675-48F5-90B4-46CE281DC87A}" dt="2021-09-28T20:02:20.473" v="308" actId="26606"/>
          <ac:spMkLst>
            <pc:docMk/>
            <pc:sldMk cId="3540191114" sldId="2147196790"/>
            <ac:spMk id="12" creationId="{6970F14D-B6E6-40EA-96B4-4E18D0CF9D8C}"/>
          </ac:spMkLst>
        </pc:spChg>
        <pc:spChg chg="add del">
          <ac:chgData name="Brattås, Johan Ludvig" userId="07156f80-05ad-490f-8d18-32a2a8907af8" providerId="ADAL" clId="{B1516F74-8675-48F5-90B4-46CE281DC87A}" dt="2021-09-28T20:02:20.473" v="308" actId="26606"/>
          <ac:spMkLst>
            <pc:docMk/>
            <pc:sldMk cId="3540191114" sldId="2147196790"/>
            <ac:spMk id="14" creationId="{DCCCDCCF-DDE7-4FF9-BA8E-DFD3AC93A6C7}"/>
          </ac:spMkLst>
        </pc:spChg>
        <pc:spChg chg="add del">
          <ac:chgData name="Brattås, Johan Ludvig" userId="07156f80-05ad-490f-8d18-32a2a8907af8" providerId="ADAL" clId="{B1516F74-8675-48F5-90B4-46CE281DC87A}" dt="2021-09-28T20:02:20.473" v="308" actId="26606"/>
          <ac:spMkLst>
            <pc:docMk/>
            <pc:sldMk cId="3540191114" sldId="2147196790"/>
            <ac:spMk id="16" creationId="{C2352FE0-ACFA-479E-A574-CED1C035D3F5}"/>
          </ac:spMkLst>
        </pc:spChg>
        <pc:spChg chg="add del">
          <ac:chgData name="Brattås, Johan Ludvig" userId="07156f80-05ad-490f-8d18-32a2a8907af8" providerId="ADAL" clId="{B1516F74-8675-48F5-90B4-46CE281DC87A}" dt="2021-09-28T20:02:20.473" v="308" actId="26606"/>
          <ac:spMkLst>
            <pc:docMk/>
            <pc:sldMk cId="3540191114" sldId="2147196790"/>
            <ac:spMk id="18" creationId="{401F5979-1992-492E-ABBD-62EBC1016CB4}"/>
          </ac:spMkLst>
        </pc:spChg>
        <pc:spChg chg="add del">
          <ac:chgData name="Brattås, Johan Ludvig" userId="07156f80-05ad-490f-8d18-32a2a8907af8" providerId="ADAL" clId="{B1516F74-8675-48F5-90B4-46CE281DC87A}" dt="2021-09-28T20:02:20.473" v="308" actId="26606"/>
          <ac:spMkLst>
            <pc:docMk/>
            <pc:sldMk cId="3540191114" sldId="2147196790"/>
            <ac:spMk id="20" creationId="{377CB93F-A0E2-4BBE-B2FC-E93932C7ECEE}"/>
          </ac:spMkLst>
        </pc:spChg>
        <pc:spChg chg="add del">
          <ac:chgData name="Brattås, Johan Ludvig" userId="07156f80-05ad-490f-8d18-32a2a8907af8" providerId="ADAL" clId="{B1516F74-8675-48F5-90B4-46CE281DC87A}" dt="2021-09-28T20:16:51.511" v="559" actId="26606"/>
          <ac:spMkLst>
            <pc:docMk/>
            <pc:sldMk cId="3540191114" sldId="2147196790"/>
            <ac:spMk id="22" creationId="{B86EEAC6-011F-4499-ACFF-2FDC742DB06D}"/>
          </ac:spMkLst>
        </pc:spChg>
        <pc:spChg chg="add del">
          <ac:chgData name="Brattås, Johan Ludvig" userId="07156f80-05ad-490f-8d18-32a2a8907af8" providerId="ADAL" clId="{B1516F74-8675-48F5-90B4-46CE281DC87A}" dt="2021-09-28T20:16:51.511" v="559" actId="26606"/>
          <ac:spMkLst>
            <pc:docMk/>
            <pc:sldMk cId="3540191114" sldId="2147196790"/>
            <ac:spMk id="23" creationId="{6970F14D-B6E6-40EA-96B4-4E18D0CF9D8C}"/>
          </ac:spMkLst>
        </pc:spChg>
        <pc:spChg chg="add del">
          <ac:chgData name="Brattås, Johan Ludvig" userId="07156f80-05ad-490f-8d18-32a2a8907af8" providerId="ADAL" clId="{B1516F74-8675-48F5-90B4-46CE281DC87A}" dt="2021-09-28T20:16:51.511" v="559" actId="26606"/>
          <ac:spMkLst>
            <pc:docMk/>
            <pc:sldMk cId="3540191114" sldId="2147196790"/>
            <ac:spMk id="24" creationId="{1FCF8D96-ACCE-4A38-BFE7-4D631184D16A}"/>
          </ac:spMkLst>
        </pc:spChg>
        <pc:spChg chg="add del">
          <ac:chgData name="Brattås, Johan Ludvig" userId="07156f80-05ad-490f-8d18-32a2a8907af8" providerId="ADAL" clId="{B1516F74-8675-48F5-90B4-46CE281DC87A}" dt="2021-09-28T20:16:45.172" v="554" actId="26606"/>
          <ac:spMkLst>
            <pc:docMk/>
            <pc:sldMk cId="3540191114" sldId="2147196790"/>
            <ac:spMk id="29" creationId="{B86EEAC6-011F-4499-ACFF-2FDC742DB06D}"/>
          </ac:spMkLst>
        </pc:spChg>
        <pc:spChg chg="add del">
          <ac:chgData name="Brattås, Johan Ludvig" userId="07156f80-05ad-490f-8d18-32a2a8907af8" providerId="ADAL" clId="{B1516F74-8675-48F5-90B4-46CE281DC87A}" dt="2021-09-28T20:16:45.172" v="554" actId="26606"/>
          <ac:spMkLst>
            <pc:docMk/>
            <pc:sldMk cId="3540191114" sldId="2147196790"/>
            <ac:spMk id="31" creationId="{6970F14D-B6E6-40EA-96B4-4E18D0CF9D8C}"/>
          </ac:spMkLst>
        </pc:spChg>
        <pc:spChg chg="add del">
          <ac:chgData name="Brattås, Johan Ludvig" userId="07156f80-05ad-490f-8d18-32a2a8907af8" providerId="ADAL" clId="{B1516F74-8675-48F5-90B4-46CE281DC87A}" dt="2021-09-28T20:16:45.172" v="554" actId="26606"/>
          <ac:spMkLst>
            <pc:docMk/>
            <pc:sldMk cId="3540191114" sldId="2147196790"/>
            <ac:spMk id="33" creationId="{1FCF8D96-ACCE-4A38-BFE7-4D631184D16A}"/>
          </ac:spMkLst>
        </pc:spChg>
        <pc:spChg chg="add del">
          <ac:chgData name="Brattås, Johan Ludvig" userId="07156f80-05ad-490f-8d18-32a2a8907af8" providerId="ADAL" clId="{B1516F74-8675-48F5-90B4-46CE281DC87A}" dt="2021-09-28T20:16:48.973" v="556" actId="26606"/>
          <ac:spMkLst>
            <pc:docMk/>
            <pc:sldMk cId="3540191114" sldId="2147196790"/>
            <ac:spMk id="35" creationId="{06D370DD-716B-4528-B475-331F84CEA5A1}"/>
          </ac:spMkLst>
        </pc:spChg>
        <pc:spChg chg="add del">
          <ac:chgData name="Brattås, Johan Ludvig" userId="07156f80-05ad-490f-8d18-32a2a8907af8" providerId="ADAL" clId="{B1516F74-8675-48F5-90B4-46CE281DC87A}" dt="2021-09-28T20:16:48.973" v="556" actId="26606"/>
          <ac:spMkLst>
            <pc:docMk/>
            <pc:sldMk cId="3540191114" sldId="2147196790"/>
            <ac:spMk id="36" creationId="{4F645BF8-7885-4398-80BC-4C0DF24F5CEE}"/>
          </ac:spMkLst>
        </pc:spChg>
        <pc:spChg chg="add del">
          <ac:chgData name="Brattås, Johan Ludvig" userId="07156f80-05ad-490f-8d18-32a2a8907af8" providerId="ADAL" clId="{B1516F74-8675-48F5-90B4-46CE281DC87A}" dt="2021-09-28T20:16:48.973" v="556" actId="26606"/>
          <ac:spMkLst>
            <pc:docMk/>
            <pc:sldMk cId="3540191114" sldId="2147196790"/>
            <ac:spMk id="37" creationId="{E79D076F-656A-4CD9-83AD-AF8F4B28CA49}"/>
          </ac:spMkLst>
        </pc:spChg>
        <pc:spChg chg="add del">
          <ac:chgData name="Brattås, Johan Ludvig" userId="07156f80-05ad-490f-8d18-32a2a8907af8" providerId="ADAL" clId="{B1516F74-8675-48F5-90B4-46CE281DC87A}" dt="2021-09-28T20:16:48.973" v="556" actId="26606"/>
          <ac:spMkLst>
            <pc:docMk/>
            <pc:sldMk cId="3540191114" sldId="2147196790"/>
            <ac:spMk id="38" creationId="{3212FB65-CD2B-4005-B910-132DCE19FCC7}"/>
          </ac:spMkLst>
        </pc:spChg>
        <pc:spChg chg="add del">
          <ac:chgData name="Brattås, Johan Ludvig" userId="07156f80-05ad-490f-8d18-32a2a8907af8" providerId="ADAL" clId="{B1516F74-8675-48F5-90B4-46CE281DC87A}" dt="2021-09-28T20:16:48.973" v="556" actId="26606"/>
          <ac:spMkLst>
            <pc:docMk/>
            <pc:sldMk cId="3540191114" sldId="2147196790"/>
            <ac:spMk id="39" creationId="{EE9F5D7F-1BBC-4096-ADA7-AA9C9E4D2868}"/>
          </ac:spMkLst>
        </pc:spChg>
        <pc:spChg chg="add del">
          <ac:chgData name="Brattås, Johan Ludvig" userId="07156f80-05ad-490f-8d18-32a2a8907af8" providerId="ADAL" clId="{B1516F74-8675-48F5-90B4-46CE281DC87A}" dt="2021-09-28T20:16:51.501" v="558" actId="26606"/>
          <ac:spMkLst>
            <pc:docMk/>
            <pc:sldMk cId="3540191114" sldId="2147196790"/>
            <ac:spMk id="41" creationId="{B86EEAC6-011F-4499-ACFF-2FDC742DB06D}"/>
          </ac:spMkLst>
        </pc:spChg>
        <pc:spChg chg="add del">
          <ac:chgData name="Brattås, Johan Ludvig" userId="07156f80-05ad-490f-8d18-32a2a8907af8" providerId="ADAL" clId="{B1516F74-8675-48F5-90B4-46CE281DC87A}" dt="2021-09-28T20:16:51.501" v="558" actId="26606"/>
          <ac:spMkLst>
            <pc:docMk/>
            <pc:sldMk cId="3540191114" sldId="2147196790"/>
            <ac:spMk id="42" creationId="{6970F14D-B6E6-40EA-96B4-4E18D0CF9D8C}"/>
          </ac:spMkLst>
        </pc:spChg>
        <pc:spChg chg="add">
          <ac:chgData name="Brattås, Johan Ludvig" userId="07156f80-05ad-490f-8d18-32a2a8907af8" providerId="ADAL" clId="{B1516F74-8675-48F5-90B4-46CE281DC87A}" dt="2021-09-28T20:16:51.511" v="559" actId="26606"/>
          <ac:spMkLst>
            <pc:docMk/>
            <pc:sldMk cId="3540191114" sldId="2147196790"/>
            <ac:spMk id="44" creationId="{4F645BF8-7885-4398-80BC-4C0DF24F5CEE}"/>
          </ac:spMkLst>
        </pc:spChg>
        <pc:spChg chg="add">
          <ac:chgData name="Brattås, Johan Ludvig" userId="07156f80-05ad-490f-8d18-32a2a8907af8" providerId="ADAL" clId="{B1516F74-8675-48F5-90B4-46CE281DC87A}" dt="2021-09-28T20:16:51.511" v="559" actId="26606"/>
          <ac:spMkLst>
            <pc:docMk/>
            <pc:sldMk cId="3540191114" sldId="2147196790"/>
            <ac:spMk id="45" creationId="{3212FB65-CD2B-4005-B910-132DCE19FCC7}"/>
          </ac:spMkLst>
        </pc:spChg>
        <pc:spChg chg="add">
          <ac:chgData name="Brattås, Johan Ludvig" userId="07156f80-05ad-490f-8d18-32a2a8907af8" providerId="ADAL" clId="{B1516F74-8675-48F5-90B4-46CE281DC87A}" dt="2021-09-28T20:16:51.511" v="559" actId="26606"/>
          <ac:spMkLst>
            <pc:docMk/>
            <pc:sldMk cId="3540191114" sldId="2147196790"/>
            <ac:spMk id="46" creationId="{EE9F5D7F-1BBC-4096-ADA7-AA9C9E4D2868}"/>
          </ac:spMkLst>
        </pc:spChg>
        <pc:spChg chg="add">
          <ac:chgData name="Brattås, Johan Ludvig" userId="07156f80-05ad-490f-8d18-32a2a8907af8" providerId="ADAL" clId="{B1516F74-8675-48F5-90B4-46CE281DC87A}" dt="2021-09-28T20:16:51.511" v="559" actId="26606"/>
          <ac:spMkLst>
            <pc:docMk/>
            <pc:sldMk cId="3540191114" sldId="2147196790"/>
            <ac:spMk id="47" creationId="{06D370DD-716B-4528-B475-331F84CEA5A1}"/>
          </ac:spMkLst>
        </pc:spChg>
        <pc:spChg chg="add">
          <ac:chgData name="Brattås, Johan Ludvig" userId="07156f80-05ad-490f-8d18-32a2a8907af8" providerId="ADAL" clId="{B1516F74-8675-48F5-90B4-46CE281DC87A}" dt="2021-09-28T20:16:51.511" v="559" actId="26606"/>
          <ac:spMkLst>
            <pc:docMk/>
            <pc:sldMk cId="3540191114" sldId="2147196790"/>
            <ac:spMk id="48" creationId="{E79D076F-656A-4CD9-83AD-AF8F4B28CA49}"/>
          </ac:spMkLst>
        </pc:spChg>
        <pc:picChg chg="mod ord">
          <ac:chgData name="Brattås, Johan Ludvig" userId="07156f80-05ad-490f-8d18-32a2a8907af8" providerId="ADAL" clId="{B1516F74-8675-48F5-90B4-46CE281DC87A}" dt="2021-09-28T20:16:51.511" v="559" actId="26606"/>
          <ac:picMkLst>
            <pc:docMk/>
            <pc:sldMk cId="3540191114" sldId="2147196790"/>
            <ac:picMk id="5" creationId="{C8E15A8A-69AD-4971-860C-D92E3CE217F3}"/>
          </ac:picMkLst>
        </pc:picChg>
      </pc:sldChg>
      <pc:sldChg chg="addSp delSp modSp mod setBg modClrScheme modAnim setClrOvrMap chgLayout">
        <pc:chgData name="Brattås, Johan Ludvig" userId="07156f80-05ad-490f-8d18-32a2a8907af8" providerId="ADAL" clId="{B1516F74-8675-48F5-90B4-46CE281DC87A}" dt="2021-09-28T20:01:39.681" v="306" actId="113"/>
        <pc:sldMkLst>
          <pc:docMk/>
          <pc:sldMk cId="3063163075" sldId="2147196791"/>
        </pc:sldMkLst>
        <pc:spChg chg="mod ord">
          <ac:chgData name="Brattås, Johan Ludvig" userId="07156f80-05ad-490f-8d18-32a2a8907af8" providerId="ADAL" clId="{B1516F74-8675-48F5-90B4-46CE281DC87A}" dt="2021-09-28T19:55:08.758" v="300" actId="1076"/>
          <ac:spMkLst>
            <pc:docMk/>
            <pc:sldMk cId="3063163075" sldId="2147196791"/>
            <ac:spMk id="2" creationId="{6D4A07D3-9D54-4F98-A003-F4F6E408206A}"/>
          </ac:spMkLst>
        </pc:spChg>
        <pc:spChg chg="mod ord">
          <ac:chgData name="Brattås, Johan Ludvig" userId="07156f80-05ad-490f-8d18-32a2a8907af8" providerId="ADAL" clId="{B1516F74-8675-48F5-90B4-46CE281DC87A}" dt="2021-09-28T20:01:39.681" v="306" actId="113"/>
          <ac:spMkLst>
            <pc:docMk/>
            <pc:sldMk cId="3063163075" sldId="2147196791"/>
            <ac:spMk id="3" creationId="{17EC6D98-D1C8-4C43-9C1D-6B33C939032A}"/>
          </ac:spMkLst>
        </pc:spChg>
        <pc:spChg chg="add del mod">
          <ac:chgData name="Brattås, Johan Ludvig" userId="07156f80-05ad-490f-8d18-32a2a8907af8" providerId="ADAL" clId="{B1516F74-8675-48F5-90B4-46CE281DC87A}" dt="2021-09-28T19:54:06.706" v="284" actId="26606"/>
          <ac:spMkLst>
            <pc:docMk/>
            <pc:sldMk cId="3063163075" sldId="2147196791"/>
            <ac:spMk id="5" creationId="{2C7B04C5-4894-4F90-89AA-E43BF30E8077}"/>
          </ac:spMkLst>
        </pc:spChg>
        <pc:spChg chg="add del mod">
          <ac:chgData name="Brattås, Johan Ludvig" userId="07156f80-05ad-490f-8d18-32a2a8907af8" providerId="ADAL" clId="{B1516F74-8675-48F5-90B4-46CE281DC87A}" dt="2021-09-28T19:54:06.706" v="284" actId="26606"/>
          <ac:spMkLst>
            <pc:docMk/>
            <pc:sldMk cId="3063163075" sldId="2147196791"/>
            <ac:spMk id="6" creationId="{0A7A91D1-624B-4976-AF38-9B7D996C0C55}"/>
          </ac:spMkLst>
        </pc:spChg>
        <pc:spChg chg="add">
          <ac:chgData name="Brattås, Johan Ludvig" userId="07156f80-05ad-490f-8d18-32a2a8907af8" providerId="ADAL" clId="{B1516F74-8675-48F5-90B4-46CE281DC87A}" dt="2021-09-28T19:54:34.220" v="294" actId="26606"/>
          <ac:spMkLst>
            <pc:docMk/>
            <pc:sldMk cId="3063163075" sldId="2147196791"/>
            <ac:spMk id="7" creationId="{43162304-DA60-4C31-9E2B-E22F8DA75FF5}"/>
          </ac:spMkLst>
        </pc:spChg>
        <pc:spChg chg="add del mod">
          <ac:chgData name="Brattås, Johan Ludvig" userId="07156f80-05ad-490f-8d18-32a2a8907af8" providerId="ADAL" clId="{B1516F74-8675-48F5-90B4-46CE281DC87A}" dt="2021-09-28T19:53:57.682" v="280" actId="26606"/>
          <ac:spMkLst>
            <pc:docMk/>
            <pc:sldMk cId="3063163075" sldId="2147196791"/>
            <ac:spMk id="8" creationId="{63295484-5EB2-4D0E-9CF0-78A6034FCE4A}"/>
          </ac:spMkLst>
        </pc:spChg>
        <pc:spChg chg="add">
          <ac:chgData name="Brattås, Johan Ludvig" userId="07156f80-05ad-490f-8d18-32a2a8907af8" providerId="ADAL" clId="{B1516F74-8675-48F5-90B4-46CE281DC87A}" dt="2021-09-28T19:54:34.220" v="294" actId="26606"/>
          <ac:spMkLst>
            <pc:docMk/>
            <pc:sldMk cId="3063163075" sldId="2147196791"/>
            <ac:spMk id="9" creationId="{C4AE1EFF-264A-4A42-BEA1-0E875F40D74F}"/>
          </ac:spMkLst>
        </pc:spChg>
        <pc:spChg chg="add del mod">
          <ac:chgData name="Brattås, Johan Ludvig" userId="07156f80-05ad-490f-8d18-32a2a8907af8" providerId="ADAL" clId="{B1516F74-8675-48F5-90B4-46CE281DC87A}" dt="2021-09-28T19:53:57.682" v="280" actId="26606"/>
          <ac:spMkLst>
            <pc:docMk/>
            <pc:sldMk cId="3063163075" sldId="2147196791"/>
            <ac:spMk id="10" creationId="{702101DA-DDEF-4668-AE10-10E0B760E32B}"/>
          </ac:spMkLst>
        </pc:spChg>
        <pc:spChg chg="del">
          <ac:chgData name="Brattås, Johan Ludvig" userId="07156f80-05ad-490f-8d18-32a2a8907af8" providerId="ADAL" clId="{B1516F74-8675-48F5-90B4-46CE281DC87A}" dt="2021-09-28T11:52:17.326" v="116" actId="478"/>
          <ac:spMkLst>
            <pc:docMk/>
            <pc:sldMk cId="3063163075" sldId="2147196791"/>
            <ac:spMk id="11" creationId="{39C5C052-5429-449E-9DFF-4E534E6215EE}"/>
          </ac:spMkLst>
        </pc:spChg>
        <pc:spChg chg="add del mod">
          <ac:chgData name="Brattås, Johan Ludvig" userId="07156f80-05ad-490f-8d18-32a2a8907af8" providerId="ADAL" clId="{B1516F74-8675-48F5-90B4-46CE281DC87A}" dt="2021-09-28T19:53:57.682" v="280" actId="26606"/>
          <ac:spMkLst>
            <pc:docMk/>
            <pc:sldMk cId="3063163075" sldId="2147196791"/>
            <ac:spMk id="12" creationId="{28AD476E-F1C9-44A0-B8E2-5B30210A81B7}"/>
          </ac:spMkLst>
        </pc:spChg>
        <pc:spChg chg="del">
          <ac:chgData name="Brattås, Johan Ludvig" userId="07156f80-05ad-490f-8d18-32a2a8907af8" providerId="ADAL" clId="{B1516F74-8675-48F5-90B4-46CE281DC87A}" dt="2021-09-28T11:52:17.326" v="116" actId="478"/>
          <ac:spMkLst>
            <pc:docMk/>
            <pc:sldMk cId="3063163075" sldId="2147196791"/>
            <ac:spMk id="13" creationId="{EA7E883A-28ED-466E-9A65-BC20B7BC384B}"/>
          </ac:spMkLst>
        </pc:spChg>
        <pc:spChg chg="del">
          <ac:chgData name="Brattås, Johan Ludvig" userId="07156f80-05ad-490f-8d18-32a2a8907af8" providerId="ADAL" clId="{B1516F74-8675-48F5-90B4-46CE281DC87A}" dt="2021-09-28T11:52:17.326" v="116" actId="478"/>
          <ac:spMkLst>
            <pc:docMk/>
            <pc:sldMk cId="3063163075" sldId="2147196791"/>
            <ac:spMk id="14" creationId="{213F9C97-7DA4-4D61-A229-A76F6F60087B}"/>
          </ac:spMkLst>
        </pc:spChg>
        <pc:spChg chg="del">
          <ac:chgData name="Brattås, Johan Ludvig" userId="07156f80-05ad-490f-8d18-32a2a8907af8" providerId="ADAL" clId="{B1516F74-8675-48F5-90B4-46CE281DC87A}" dt="2021-09-28T11:52:17.326" v="116" actId="478"/>
          <ac:spMkLst>
            <pc:docMk/>
            <pc:sldMk cId="3063163075" sldId="2147196791"/>
            <ac:spMk id="15" creationId="{DEAF6631-6283-4652-AA84-A18010A36CD8}"/>
          </ac:spMkLst>
        </pc:spChg>
        <pc:spChg chg="del">
          <ac:chgData name="Brattås, Johan Ludvig" userId="07156f80-05ad-490f-8d18-32a2a8907af8" providerId="ADAL" clId="{B1516F74-8675-48F5-90B4-46CE281DC87A}" dt="2021-09-28T11:52:17.326" v="116" actId="478"/>
          <ac:spMkLst>
            <pc:docMk/>
            <pc:sldMk cId="3063163075" sldId="2147196791"/>
            <ac:spMk id="16" creationId="{8B5E766B-3B4C-4641-B6F9-37CE05135ECD}"/>
          </ac:spMkLst>
        </pc:spChg>
        <pc:spChg chg="del">
          <ac:chgData name="Brattås, Johan Ludvig" userId="07156f80-05ad-490f-8d18-32a2a8907af8" providerId="ADAL" clId="{B1516F74-8675-48F5-90B4-46CE281DC87A}" dt="2021-09-28T11:52:17.326" v="116" actId="478"/>
          <ac:spMkLst>
            <pc:docMk/>
            <pc:sldMk cId="3063163075" sldId="2147196791"/>
            <ac:spMk id="17" creationId="{65FEE5D0-65AA-4A89-A88B-42DFD08FF7E9}"/>
          </ac:spMkLst>
        </pc:spChg>
        <pc:spChg chg="del">
          <ac:chgData name="Brattås, Johan Ludvig" userId="07156f80-05ad-490f-8d18-32a2a8907af8" providerId="ADAL" clId="{B1516F74-8675-48F5-90B4-46CE281DC87A}" dt="2021-09-28T11:52:17.326" v="116" actId="478"/>
          <ac:spMkLst>
            <pc:docMk/>
            <pc:sldMk cId="3063163075" sldId="2147196791"/>
            <ac:spMk id="18" creationId="{AFACB560-EE4B-4B6E-B937-7BD0ECF373BB}"/>
          </ac:spMkLst>
        </pc:spChg>
        <pc:spChg chg="del">
          <ac:chgData name="Brattås, Johan Ludvig" userId="07156f80-05ad-490f-8d18-32a2a8907af8" providerId="ADAL" clId="{B1516F74-8675-48F5-90B4-46CE281DC87A}" dt="2021-09-28T11:52:17.326" v="116" actId="478"/>
          <ac:spMkLst>
            <pc:docMk/>
            <pc:sldMk cId="3063163075" sldId="2147196791"/>
            <ac:spMk id="19" creationId="{058C7730-D8A3-4B31-9375-722992F4558D}"/>
          </ac:spMkLst>
        </pc:spChg>
        <pc:spChg chg="add">
          <ac:chgData name="Brattås, Johan Ludvig" userId="07156f80-05ad-490f-8d18-32a2a8907af8" providerId="ADAL" clId="{B1516F74-8675-48F5-90B4-46CE281DC87A}" dt="2021-09-28T19:54:34.220" v="294" actId="26606"/>
          <ac:spMkLst>
            <pc:docMk/>
            <pc:sldMk cId="3063163075" sldId="2147196791"/>
            <ac:spMk id="20" creationId="{5DB23C2B-2054-4D8B-9E98-9190F8E05EAD}"/>
          </ac:spMkLst>
        </pc:spChg>
        <pc:spChg chg="add">
          <ac:chgData name="Brattås, Johan Ludvig" userId="07156f80-05ad-490f-8d18-32a2a8907af8" providerId="ADAL" clId="{B1516F74-8675-48F5-90B4-46CE281DC87A}" dt="2021-09-28T19:54:34.220" v="294" actId="26606"/>
          <ac:spMkLst>
            <pc:docMk/>
            <pc:sldMk cId="3063163075" sldId="2147196791"/>
            <ac:spMk id="21" creationId="{8797B5BC-9873-45F9-97D6-298FB5AF08FF}"/>
          </ac:spMkLst>
        </pc:spChg>
        <pc:spChg chg="add">
          <ac:chgData name="Brattås, Johan Ludvig" userId="07156f80-05ad-490f-8d18-32a2a8907af8" providerId="ADAL" clId="{B1516F74-8675-48F5-90B4-46CE281DC87A}" dt="2021-09-28T19:54:34.220" v="294" actId="26606"/>
          <ac:spMkLst>
            <pc:docMk/>
            <pc:sldMk cId="3063163075" sldId="2147196791"/>
            <ac:spMk id="22" creationId="{665C2FCD-09A4-4B4B-AA73-F330DFE91799}"/>
          </ac:spMkLst>
        </pc:spChg>
        <pc:picChg chg="del">
          <ac:chgData name="Brattås, Johan Ludvig" userId="07156f80-05ad-490f-8d18-32a2a8907af8" providerId="ADAL" clId="{B1516F74-8675-48F5-90B4-46CE281DC87A}" dt="2021-09-28T11:52:17.326" v="116" actId="478"/>
          <ac:picMkLst>
            <pc:docMk/>
            <pc:sldMk cId="3063163075" sldId="2147196791"/>
            <ac:picMk id="18434" creationId="{2BDCAF5E-9E5A-4557-B337-A6A079E78A18}"/>
          </ac:picMkLst>
        </pc:picChg>
      </pc:sldChg>
      <pc:sldChg chg="add del">
        <pc:chgData name="Brattås, Johan Ludvig" userId="07156f80-05ad-490f-8d18-32a2a8907af8" providerId="ADAL" clId="{B1516F74-8675-48F5-90B4-46CE281DC87A}" dt="2021-09-28T21:20:19.883" v="2606" actId="47"/>
        <pc:sldMkLst>
          <pc:docMk/>
          <pc:sldMk cId="628216179" sldId="2147196792"/>
        </pc:sldMkLst>
      </pc:sldChg>
      <pc:sldChg chg="modSp add del">
        <pc:chgData name="Brattås, Johan Ludvig" userId="07156f80-05ad-490f-8d18-32a2a8907af8" providerId="ADAL" clId="{B1516F74-8675-48F5-90B4-46CE281DC87A}" dt="2021-09-28T21:20:19.883" v="2606" actId="47"/>
        <pc:sldMkLst>
          <pc:docMk/>
          <pc:sldMk cId="1834664431" sldId="2147196793"/>
        </pc:sldMkLst>
        <pc:spChg chg="mod">
          <ac:chgData name="Brattås, Johan Ludvig" userId="07156f80-05ad-490f-8d18-32a2a8907af8" providerId="ADAL" clId="{B1516F74-8675-48F5-90B4-46CE281DC87A}" dt="2021-09-28T19:54:23.772" v="286"/>
          <ac:spMkLst>
            <pc:docMk/>
            <pc:sldMk cId="1834664431" sldId="2147196793"/>
            <ac:spMk id="2" creationId="{A528AB53-FDA1-4C9C-81A3-096CD50848BE}"/>
          </ac:spMkLst>
        </pc:spChg>
      </pc:sldChg>
      <pc:sldChg chg="addSp delSp modSp mod modClrScheme chgLayout">
        <pc:chgData name="Brattås, Johan Ludvig" userId="07156f80-05ad-490f-8d18-32a2a8907af8" providerId="ADAL" clId="{B1516F74-8675-48F5-90B4-46CE281DC87A}" dt="2021-09-28T21:23:41.083" v="2656" actId="1036"/>
        <pc:sldMkLst>
          <pc:docMk/>
          <pc:sldMk cId="1296771165" sldId="2147196794"/>
        </pc:sldMkLst>
        <pc:spChg chg="add del mod ord">
          <ac:chgData name="Brattås, Johan Ludvig" userId="07156f80-05ad-490f-8d18-32a2a8907af8" providerId="ADAL" clId="{B1516F74-8675-48F5-90B4-46CE281DC87A}" dt="2021-09-28T21:20:12.538" v="2599" actId="700"/>
          <ac:spMkLst>
            <pc:docMk/>
            <pc:sldMk cId="1296771165" sldId="2147196794"/>
            <ac:spMk id="2" creationId="{277956BC-9099-47BB-97F6-2618943CBBEC}"/>
          </ac:spMkLst>
        </pc:spChg>
        <pc:spChg chg="add del mod ord">
          <ac:chgData name="Brattås, Johan Ludvig" userId="07156f80-05ad-490f-8d18-32a2a8907af8" providerId="ADAL" clId="{B1516F74-8675-48F5-90B4-46CE281DC87A}" dt="2021-09-28T21:20:12.538" v="2599" actId="700"/>
          <ac:spMkLst>
            <pc:docMk/>
            <pc:sldMk cId="1296771165" sldId="2147196794"/>
            <ac:spMk id="5" creationId="{38376B4A-92E9-42D2-8A4F-E83B19BCB9F5}"/>
          </ac:spMkLst>
        </pc:spChg>
        <pc:spChg chg="add del mod ord">
          <ac:chgData name="Brattås, Johan Ludvig" userId="07156f80-05ad-490f-8d18-32a2a8907af8" providerId="ADAL" clId="{B1516F74-8675-48F5-90B4-46CE281DC87A}" dt="2021-09-28T21:20:12.538" v="2599" actId="700"/>
          <ac:spMkLst>
            <pc:docMk/>
            <pc:sldMk cId="1296771165" sldId="2147196794"/>
            <ac:spMk id="6" creationId="{9869504B-1537-4D4F-AC45-EF4C5C686D1C}"/>
          </ac:spMkLst>
        </pc:spChg>
        <pc:spChg chg="mod">
          <ac:chgData name="Brattås, Johan Ludvig" userId="07156f80-05ad-490f-8d18-32a2a8907af8" providerId="ADAL" clId="{B1516F74-8675-48F5-90B4-46CE281DC87A}" dt="2021-09-28T21:23:41.083" v="2656" actId="1036"/>
          <ac:spMkLst>
            <pc:docMk/>
            <pc:sldMk cId="1296771165" sldId="2147196794"/>
            <ac:spMk id="21" creationId="{A76F531F-10B1-4D71-B78E-D1BD67E4BD10}"/>
          </ac:spMkLst>
        </pc:spChg>
        <pc:spChg chg="del mod ord">
          <ac:chgData name="Brattås, Johan Ludvig" userId="07156f80-05ad-490f-8d18-32a2a8907af8" providerId="ADAL" clId="{B1516F74-8675-48F5-90B4-46CE281DC87A}" dt="2021-09-28T21:22:55.318" v="2633" actId="478"/>
          <ac:spMkLst>
            <pc:docMk/>
            <pc:sldMk cId="1296771165" sldId="2147196794"/>
            <ac:spMk id="44" creationId="{00000000-0000-0000-0000-000000000000}"/>
          </ac:spMkLst>
        </pc:spChg>
        <pc:spChg chg="mod ord">
          <ac:chgData name="Brattås, Johan Ludvig" userId="07156f80-05ad-490f-8d18-32a2a8907af8" providerId="ADAL" clId="{B1516F74-8675-48F5-90B4-46CE281DC87A}" dt="2021-09-28T21:22:50.649" v="2632" actId="1076"/>
          <ac:spMkLst>
            <pc:docMk/>
            <pc:sldMk cId="1296771165" sldId="2147196794"/>
            <ac:spMk id="45" creationId="{00000000-0000-0000-0000-000000000000}"/>
          </ac:spMkLst>
        </pc:spChg>
        <pc:spChg chg="mod topLvl">
          <ac:chgData name="Brattås, Johan Ludvig" userId="07156f80-05ad-490f-8d18-32a2a8907af8" providerId="ADAL" clId="{B1516F74-8675-48F5-90B4-46CE281DC87A}" dt="2021-09-28T21:23:41.083" v="2656" actId="1036"/>
          <ac:spMkLst>
            <pc:docMk/>
            <pc:sldMk cId="1296771165" sldId="2147196794"/>
            <ac:spMk id="92" creationId="{00000000-0000-0000-0000-000000000000}"/>
          </ac:spMkLst>
        </pc:spChg>
        <pc:spChg chg="mod topLvl">
          <ac:chgData name="Brattås, Johan Ludvig" userId="07156f80-05ad-490f-8d18-32a2a8907af8" providerId="ADAL" clId="{B1516F74-8675-48F5-90B4-46CE281DC87A}" dt="2021-09-28T21:23:41.083" v="2656" actId="1036"/>
          <ac:spMkLst>
            <pc:docMk/>
            <pc:sldMk cId="1296771165" sldId="2147196794"/>
            <ac:spMk id="93" creationId="{00000000-0000-0000-0000-000000000000}"/>
          </ac:spMkLst>
        </pc:spChg>
        <pc:spChg chg="mod topLvl">
          <ac:chgData name="Brattås, Johan Ludvig" userId="07156f80-05ad-490f-8d18-32a2a8907af8" providerId="ADAL" clId="{B1516F74-8675-48F5-90B4-46CE281DC87A}" dt="2021-09-28T21:23:41.083" v="2656" actId="1036"/>
          <ac:spMkLst>
            <pc:docMk/>
            <pc:sldMk cId="1296771165" sldId="2147196794"/>
            <ac:spMk id="95" creationId="{00000000-0000-0000-0000-000000000000}"/>
          </ac:spMkLst>
        </pc:spChg>
        <pc:spChg chg="mod">
          <ac:chgData name="Brattås, Johan Ludvig" userId="07156f80-05ad-490f-8d18-32a2a8907af8" providerId="ADAL" clId="{B1516F74-8675-48F5-90B4-46CE281DC87A}" dt="2021-09-28T21:23:41.083" v="2656" actId="1036"/>
          <ac:spMkLst>
            <pc:docMk/>
            <pc:sldMk cId="1296771165" sldId="2147196794"/>
            <ac:spMk id="97" creationId="{00000000-0000-0000-0000-000000000000}"/>
          </ac:spMkLst>
        </pc:spChg>
        <pc:spChg chg="mod">
          <ac:chgData name="Brattås, Johan Ludvig" userId="07156f80-05ad-490f-8d18-32a2a8907af8" providerId="ADAL" clId="{B1516F74-8675-48F5-90B4-46CE281DC87A}" dt="2021-09-28T21:23:41.083" v="2656" actId="1036"/>
          <ac:spMkLst>
            <pc:docMk/>
            <pc:sldMk cId="1296771165" sldId="2147196794"/>
            <ac:spMk id="98" creationId="{00000000-0000-0000-0000-000000000000}"/>
          </ac:spMkLst>
        </pc:spChg>
        <pc:spChg chg="mod">
          <ac:chgData name="Brattås, Johan Ludvig" userId="07156f80-05ad-490f-8d18-32a2a8907af8" providerId="ADAL" clId="{B1516F74-8675-48F5-90B4-46CE281DC87A}" dt="2021-09-28T21:23:41.083" v="2656" actId="1036"/>
          <ac:spMkLst>
            <pc:docMk/>
            <pc:sldMk cId="1296771165" sldId="2147196794"/>
            <ac:spMk id="99" creationId="{00000000-0000-0000-0000-000000000000}"/>
          </ac:spMkLst>
        </pc:spChg>
        <pc:spChg chg="mod ord">
          <ac:chgData name="Brattås, Johan Ludvig" userId="07156f80-05ad-490f-8d18-32a2a8907af8" providerId="ADAL" clId="{B1516F74-8675-48F5-90B4-46CE281DC87A}" dt="2021-09-28T21:23:10.716" v="2635" actId="1076"/>
          <ac:spMkLst>
            <pc:docMk/>
            <pc:sldMk cId="1296771165" sldId="2147196794"/>
            <ac:spMk id="150" creationId="{00000000-0000-0000-0000-000000000000}"/>
          </ac:spMkLst>
        </pc:spChg>
        <pc:spChg chg="mod ord">
          <ac:chgData name="Brattås, Johan Ludvig" userId="07156f80-05ad-490f-8d18-32a2a8907af8" providerId="ADAL" clId="{B1516F74-8675-48F5-90B4-46CE281DC87A}" dt="2021-09-28T21:23:16.273" v="2636" actId="1076"/>
          <ac:spMkLst>
            <pc:docMk/>
            <pc:sldMk cId="1296771165" sldId="2147196794"/>
            <ac:spMk id="152" creationId="{00000000-0000-0000-0000-000000000000}"/>
          </ac:spMkLst>
        </pc:spChg>
        <pc:spChg chg="mod ord">
          <ac:chgData name="Brattås, Johan Ludvig" userId="07156f80-05ad-490f-8d18-32a2a8907af8" providerId="ADAL" clId="{B1516F74-8675-48F5-90B4-46CE281DC87A}" dt="2021-09-28T21:22:40.594" v="2630" actId="1076"/>
          <ac:spMkLst>
            <pc:docMk/>
            <pc:sldMk cId="1296771165" sldId="2147196794"/>
            <ac:spMk id="153" creationId="{00000000-0000-0000-0000-000000000000}"/>
          </ac:spMkLst>
        </pc:spChg>
        <pc:spChg chg="mod ord">
          <ac:chgData name="Brattås, Johan Ludvig" userId="07156f80-05ad-490f-8d18-32a2a8907af8" providerId="ADAL" clId="{B1516F74-8675-48F5-90B4-46CE281DC87A}" dt="2021-09-28T21:22:40.594" v="2630" actId="1076"/>
          <ac:spMkLst>
            <pc:docMk/>
            <pc:sldMk cId="1296771165" sldId="2147196794"/>
            <ac:spMk id="154" creationId="{00000000-0000-0000-0000-000000000000}"/>
          </ac:spMkLst>
        </pc:spChg>
        <pc:spChg chg="mod ord">
          <ac:chgData name="Brattås, Johan Ludvig" userId="07156f80-05ad-490f-8d18-32a2a8907af8" providerId="ADAL" clId="{B1516F74-8675-48F5-90B4-46CE281DC87A}" dt="2021-09-28T21:23:41.083" v="2656" actId="1036"/>
          <ac:spMkLst>
            <pc:docMk/>
            <pc:sldMk cId="1296771165" sldId="2147196794"/>
            <ac:spMk id="157" creationId="{00000000-0000-0000-0000-000000000000}"/>
          </ac:spMkLst>
        </pc:spChg>
        <pc:spChg chg="mod ord">
          <ac:chgData name="Brattås, Johan Ludvig" userId="07156f80-05ad-490f-8d18-32a2a8907af8" providerId="ADAL" clId="{B1516F74-8675-48F5-90B4-46CE281DC87A}" dt="2021-09-28T21:23:41.083" v="2656" actId="1036"/>
          <ac:spMkLst>
            <pc:docMk/>
            <pc:sldMk cId="1296771165" sldId="2147196794"/>
            <ac:spMk id="158" creationId="{00000000-0000-0000-0000-000000000000}"/>
          </ac:spMkLst>
        </pc:spChg>
        <pc:grpChg chg="add mod">
          <ac:chgData name="Brattås, Johan Ludvig" userId="07156f80-05ad-490f-8d18-32a2a8907af8" providerId="ADAL" clId="{B1516F74-8675-48F5-90B4-46CE281DC87A}" dt="2021-09-28T21:23:41.083" v="2656" actId="1036"/>
          <ac:grpSpMkLst>
            <pc:docMk/>
            <pc:sldMk cId="1296771165" sldId="2147196794"/>
            <ac:grpSpMk id="7" creationId="{8597DE99-B5F8-4B7E-BB1F-3D246B269017}"/>
          </ac:grpSpMkLst>
        </pc:grpChg>
        <pc:grpChg chg="add mod">
          <ac:chgData name="Brattås, Johan Ludvig" userId="07156f80-05ad-490f-8d18-32a2a8907af8" providerId="ADAL" clId="{B1516F74-8675-48F5-90B4-46CE281DC87A}" dt="2021-09-28T21:23:41.083" v="2656" actId="1036"/>
          <ac:grpSpMkLst>
            <pc:docMk/>
            <pc:sldMk cId="1296771165" sldId="2147196794"/>
            <ac:grpSpMk id="8" creationId="{DA9060E3-2F55-4D4D-8061-0FE5DFC47C0B}"/>
          </ac:grpSpMkLst>
        </pc:grpChg>
        <pc:grpChg chg="del">
          <ac:chgData name="Brattås, Johan Ludvig" userId="07156f80-05ad-490f-8d18-32a2a8907af8" providerId="ADAL" clId="{B1516F74-8675-48F5-90B4-46CE281DC87A}" dt="2021-09-28T21:21:11.523" v="2617" actId="165"/>
          <ac:grpSpMkLst>
            <pc:docMk/>
            <pc:sldMk cId="1296771165" sldId="2147196794"/>
            <ac:grpSpMk id="91" creationId="{00000000-0000-0000-0000-000000000000}"/>
          </ac:grpSpMkLst>
        </pc:grpChg>
        <pc:grpChg chg="del">
          <ac:chgData name="Brattås, Johan Ludvig" userId="07156f80-05ad-490f-8d18-32a2a8907af8" providerId="ADAL" clId="{B1516F74-8675-48F5-90B4-46CE281DC87A}" dt="2021-09-28T21:21:11.523" v="2617" actId="165"/>
          <ac:grpSpMkLst>
            <pc:docMk/>
            <pc:sldMk cId="1296771165" sldId="2147196794"/>
            <ac:grpSpMk id="94" creationId="{00000000-0000-0000-0000-000000000000}"/>
          </ac:grpSpMkLst>
        </pc:grpChg>
        <pc:grpChg chg="mod topLvl">
          <ac:chgData name="Brattås, Johan Ludvig" userId="07156f80-05ad-490f-8d18-32a2a8907af8" providerId="ADAL" clId="{B1516F74-8675-48F5-90B4-46CE281DC87A}" dt="2021-09-28T21:23:41.083" v="2656" actId="1036"/>
          <ac:grpSpMkLst>
            <pc:docMk/>
            <pc:sldMk cId="1296771165" sldId="2147196794"/>
            <ac:grpSpMk id="96" creationId="{00000000-0000-0000-0000-000000000000}"/>
          </ac:grpSpMkLst>
        </pc:grpChg>
        <pc:picChg chg="mod">
          <ac:chgData name="Brattås, Johan Ludvig" userId="07156f80-05ad-490f-8d18-32a2a8907af8" providerId="ADAL" clId="{B1516F74-8675-48F5-90B4-46CE281DC87A}" dt="2021-09-28T21:23:01.471" v="2634" actId="1076"/>
          <ac:picMkLst>
            <pc:docMk/>
            <pc:sldMk cId="1296771165" sldId="2147196794"/>
            <ac:picMk id="3" creationId="{26F2A0F1-0877-4AFB-ADDA-A6A8D4B0C407}"/>
          </ac:picMkLst>
        </pc:picChg>
        <pc:picChg chg="mod">
          <ac:chgData name="Brattås, Johan Ludvig" userId="07156f80-05ad-490f-8d18-32a2a8907af8" providerId="ADAL" clId="{B1516F74-8675-48F5-90B4-46CE281DC87A}" dt="2021-09-28T21:23:41.083" v="2656" actId="1036"/>
          <ac:picMkLst>
            <pc:docMk/>
            <pc:sldMk cId="1296771165" sldId="2147196794"/>
            <ac:picMk id="4" creationId="{CE7DF72A-A166-4B3C-8765-0BE0A6996CA4}"/>
          </ac:picMkLst>
        </pc:picChg>
        <pc:picChg chg="mod ord">
          <ac:chgData name="Brattås, Johan Ludvig" userId="07156f80-05ad-490f-8d18-32a2a8907af8" providerId="ADAL" clId="{B1516F74-8675-48F5-90B4-46CE281DC87A}" dt="2021-09-28T21:22:45.525" v="2631" actId="1076"/>
          <ac:picMkLst>
            <pc:docMk/>
            <pc:sldMk cId="1296771165" sldId="2147196794"/>
            <ac:picMk id="26" creationId="{91477015-5811-417C-914F-5B65C77F4BB4}"/>
          </ac:picMkLst>
        </pc:picChg>
      </pc:sldChg>
      <pc:sldChg chg="modSp add del">
        <pc:chgData name="Brattås, Johan Ludvig" userId="07156f80-05ad-490f-8d18-32a2a8907af8" providerId="ADAL" clId="{B1516F74-8675-48F5-90B4-46CE281DC87A}" dt="2021-09-28T21:20:19.883" v="2606" actId="47"/>
        <pc:sldMkLst>
          <pc:docMk/>
          <pc:sldMk cId="1241463171" sldId="2147196795"/>
        </pc:sldMkLst>
        <pc:spChg chg="mod">
          <ac:chgData name="Brattås, Johan Ludvig" userId="07156f80-05ad-490f-8d18-32a2a8907af8" providerId="ADAL" clId="{B1516F74-8675-48F5-90B4-46CE281DC87A}" dt="2021-09-28T19:54:23.772" v="286"/>
          <ac:spMkLst>
            <pc:docMk/>
            <pc:sldMk cId="1241463171" sldId="2147196795"/>
            <ac:spMk id="2" creationId="{A528AB53-FDA1-4C9C-81A3-096CD50848BE}"/>
          </ac:spMkLst>
        </pc:spChg>
      </pc:sldChg>
      <pc:sldChg chg="modSp add del">
        <pc:chgData name="Brattås, Johan Ludvig" userId="07156f80-05ad-490f-8d18-32a2a8907af8" providerId="ADAL" clId="{B1516F74-8675-48F5-90B4-46CE281DC87A}" dt="2021-09-28T21:20:19.883" v="2606" actId="47"/>
        <pc:sldMkLst>
          <pc:docMk/>
          <pc:sldMk cId="1706236267" sldId="2147196796"/>
        </pc:sldMkLst>
        <pc:spChg chg="mod">
          <ac:chgData name="Brattås, Johan Ludvig" userId="07156f80-05ad-490f-8d18-32a2a8907af8" providerId="ADAL" clId="{B1516F74-8675-48F5-90B4-46CE281DC87A}" dt="2021-09-28T19:54:23.772" v="286"/>
          <ac:spMkLst>
            <pc:docMk/>
            <pc:sldMk cId="1706236267" sldId="2147196796"/>
            <ac:spMk id="2" creationId="{E002E725-283E-44C0-BFD6-C1471CF7DA03}"/>
          </ac:spMkLst>
        </pc:spChg>
      </pc:sldChg>
      <pc:sldChg chg="modSp add del">
        <pc:chgData name="Brattås, Johan Ludvig" userId="07156f80-05ad-490f-8d18-32a2a8907af8" providerId="ADAL" clId="{B1516F74-8675-48F5-90B4-46CE281DC87A}" dt="2021-09-28T21:20:19.883" v="2606" actId="47"/>
        <pc:sldMkLst>
          <pc:docMk/>
          <pc:sldMk cId="2067137407" sldId="2147196797"/>
        </pc:sldMkLst>
        <pc:spChg chg="mod">
          <ac:chgData name="Brattås, Johan Ludvig" userId="07156f80-05ad-490f-8d18-32a2a8907af8" providerId="ADAL" clId="{B1516F74-8675-48F5-90B4-46CE281DC87A}" dt="2021-09-28T19:54:23.772" v="286"/>
          <ac:spMkLst>
            <pc:docMk/>
            <pc:sldMk cId="2067137407" sldId="2147196797"/>
            <ac:spMk id="2" creationId="{B31E26DB-6BE8-4F97-83C1-DEF81568DA78}"/>
          </ac:spMkLst>
        </pc:spChg>
      </pc:sldChg>
      <pc:sldChg chg="modSp add del">
        <pc:chgData name="Brattås, Johan Ludvig" userId="07156f80-05ad-490f-8d18-32a2a8907af8" providerId="ADAL" clId="{B1516F74-8675-48F5-90B4-46CE281DC87A}" dt="2021-09-28T21:20:19.883" v="2606" actId="47"/>
        <pc:sldMkLst>
          <pc:docMk/>
          <pc:sldMk cId="270920451" sldId="2147196798"/>
        </pc:sldMkLst>
        <pc:spChg chg="mod">
          <ac:chgData name="Brattås, Johan Ludvig" userId="07156f80-05ad-490f-8d18-32a2a8907af8" providerId="ADAL" clId="{B1516F74-8675-48F5-90B4-46CE281DC87A}" dt="2021-09-28T19:54:23.772" v="286"/>
          <ac:spMkLst>
            <pc:docMk/>
            <pc:sldMk cId="270920451" sldId="2147196798"/>
            <ac:spMk id="2" creationId="{F8061BB3-5856-4523-845B-52E6CEFE4603}"/>
          </ac:spMkLst>
        </pc:spChg>
      </pc:sldChg>
      <pc:sldChg chg="new del">
        <pc:chgData name="Brattås, Johan Ludvig" userId="07156f80-05ad-490f-8d18-32a2a8907af8" providerId="ADAL" clId="{B1516F74-8675-48F5-90B4-46CE281DC87A}" dt="2021-09-28T11:23:55.501" v="10" actId="47"/>
        <pc:sldMkLst>
          <pc:docMk/>
          <pc:sldMk cId="2488977702" sldId="2147196799"/>
        </pc:sldMkLst>
      </pc:sldChg>
      <pc:sldChg chg="addSp delSp modSp new mod ord setBg setClrOvrMap">
        <pc:chgData name="Brattås, Johan Ludvig" userId="07156f80-05ad-490f-8d18-32a2a8907af8" providerId="ADAL" clId="{B1516F74-8675-48F5-90B4-46CE281DC87A}" dt="2021-09-28T20:01:21.647" v="303" actId="403"/>
        <pc:sldMkLst>
          <pc:docMk/>
          <pc:sldMk cId="2720272325" sldId="2147196799"/>
        </pc:sldMkLst>
        <pc:spChg chg="mod">
          <ac:chgData name="Brattås, Johan Ludvig" userId="07156f80-05ad-490f-8d18-32a2a8907af8" providerId="ADAL" clId="{B1516F74-8675-48F5-90B4-46CE281DC87A}" dt="2021-09-28T20:01:13.223" v="301" actId="26606"/>
          <ac:spMkLst>
            <pc:docMk/>
            <pc:sldMk cId="2720272325" sldId="2147196799"/>
            <ac:spMk id="2" creationId="{5E1F3755-D47D-4D29-B98F-2DDB473C3AF0}"/>
          </ac:spMkLst>
        </pc:spChg>
        <pc:spChg chg="mod">
          <ac:chgData name="Brattås, Johan Ludvig" userId="07156f80-05ad-490f-8d18-32a2a8907af8" providerId="ADAL" clId="{B1516F74-8675-48F5-90B4-46CE281DC87A}" dt="2021-09-28T20:01:21.647" v="303" actId="403"/>
          <ac:spMkLst>
            <pc:docMk/>
            <pc:sldMk cId="2720272325" sldId="2147196799"/>
            <ac:spMk id="3" creationId="{82B493E6-B3F8-4980-A006-F6A5B6CAAB85}"/>
          </ac:spMkLst>
        </pc:spChg>
        <pc:spChg chg="del">
          <ac:chgData name="Brattås, Johan Ludvig" userId="07156f80-05ad-490f-8d18-32a2a8907af8" providerId="ADAL" clId="{B1516F74-8675-48F5-90B4-46CE281DC87A}" dt="2021-09-28T11:24:17.506" v="22" actId="478"/>
          <ac:spMkLst>
            <pc:docMk/>
            <pc:sldMk cId="2720272325" sldId="2147196799"/>
            <ac:spMk id="4" creationId="{D1439AD4-2956-423A-90C2-D72BC6FA55D9}"/>
          </ac:spMkLst>
        </pc:spChg>
        <pc:spChg chg="add">
          <ac:chgData name="Brattås, Johan Ludvig" userId="07156f80-05ad-490f-8d18-32a2a8907af8" providerId="ADAL" clId="{B1516F74-8675-48F5-90B4-46CE281DC87A}" dt="2021-09-28T20:01:13.223" v="301" actId="26606"/>
          <ac:spMkLst>
            <pc:docMk/>
            <pc:sldMk cId="2720272325" sldId="2147196799"/>
            <ac:spMk id="8" creationId="{43162304-DA60-4C31-9E2B-E22F8DA75FF5}"/>
          </ac:spMkLst>
        </pc:spChg>
        <pc:spChg chg="add">
          <ac:chgData name="Brattås, Johan Ludvig" userId="07156f80-05ad-490f-8d18-32a2a8907af8" providerId="ADAL" clId="{B1516F74-8675-48F5-90B4-46CE281DC87A}" dt="2021-09-28T20:01:13.223" v="301" actId="26606"/>
          <ac:spMkLst>
            <pc:docMk/>
            <pc:sldMk cId="2720272325" sldId="2147196799"/>
            <ac:spMk id="10" creationId="{C4AE1EFF-264A-4A42-BEA1-0E875F40D74F}"/>
          </ac:spMkLst>
        </pc:spChg>
        <pc:spChg chg="add">
          <ac:chgData name="Brattås, Johan Ludvig" userId="07156f80-05ad-490f-8d18-32a2a8907af8" providerId="ADAL" clId="{B1516F74-8675-48F5-90B4-46CE281DC87A}" dt="2021-09-28T20:01:13.223" v="301" actId="26606"/>
          <ac:spMkLst>
            <pc:docMk/>
            <pc:sldMk cId="2720272325" sldId="2147196799"/>
            <ac:spMk id="12" creationId="{5DB23C2B-2054-4D8B-9E98-9190F8E05EAD}"/>
          </ac:spMkLst>
        </pc:spChg>
        <pc:spChg chg="add">
          <ac:chgData name="Brattås, Johan Ludvig" userId="07156f80-05ad-490f-8d18-32a2a8907af8" providerId="ADAL" clId="{B1516F74-8675-48F5-90B4-46CE281DC87A}" dt="2021-09-28T20:01:13.223" v="301" actId="26606"/>
          <ac:spMkLst>
            <pc:docMk/>
            <pc:sldMk cId="2720272325" sldId="2147196799"/>
            <ac:spMk id="14" creationId="{8797B5BC-9873-45F9-97D6-298FB5AF08FF}"/>
          </ac:spMkLst>
        </pc:spChg>
        <pc:spChg chg="add">
          <ac:chgData name="Brattås, Johan Ludvig" userId="07156f80-05ad-490f-8d18-32a2a8907af8" providerId="ADAL" clId="{B1516F74-8675-48F5-90B4-46CE281DC87A}" dt="2021-09-28T20:01:13.223" v="301" actId="26606"/>
          <ac:spMkLst>
            <pc:docMk/>
            <pc:sldMk cId="2720272325" sldId="2147196799"/>
            <ac:spMk id="16" creationId="{665C2FCD-09A4-4B4B-AA73-F330DFE91799}"/>
          </ac:spMkLst>
        </pc:spChg>
      </pc:sldChg>
      <pc:sldChg chg="addSp delSp modSp new mod setBg">
        <pc:chgData name="Brattås, Johan Ludvig" userId="07156f80-05ad-490f-8d18-32a2a8907af8" providerId="ADAL" clId="{B1516F74-8675-48F5-90B4-46CE281DC87A}" dt="2021-09-28T20:30:09.048" v="694"/>
        <pc:sldMkLst>
          <pc:docMk/>
          <pc:sldMk cId="431240936" sldId="2147196800"/>
        </pc:sldMkLst>
        <pc:spChg chg="mod">
          <ac:chgData name="Brattås, Johan Ludvig" userId="07156f80-05ad-490f-8d18-32a2a8907af8" providerId="ADAL" clId="{B1516F74-8675-48F5-90B4-46CE281DC87A}" dt="2021-09-28T20:16:07.090" v="552" actId="26606"/>
          <ac:spMkLst>
            <pc:docMk/>
            <pc:sldMk cId="431240936" sldId="2147196800"/>
            <ac:spMk id="2" creationId="{EDF0F76F-A36C-4D1F-850C-052E8FEBEA76}"/>
          </ac:spMkLst>
        </pc:spChg>
        <pc:spChg chg="add del mod">
          <ac:chgData name="Brattås, Johan Ludvig" userId="07156f80-05ad-490f-8d18-32a2a8907af8" providerId="ADAL" clId="{B1516F74-8675-48F5-90B4-46CE281DC87A}" dt="2021-09-28T20:16:07.090" v="552" actId="26606"/>
          <ac:spMkLst>
            <pc:docMk/>
            <pc:sldMk cId="431240936" sldId="2147196800"/>
            <ac:spMk id="3" creationId="{FFCFF5FD-4FD9-48AA-A9AC-1FD381185816}"/>
          </ac:spMkLst>
        </pc:spChg>
        <pc:spChg chg="add del">
          <ac:chgData name="Brattås, Johan Ludvig" userId="07156f80-05ad-490f-8d18-32a2a8907af8" providerId="ADAL" clId="{B1516F74-8675-48F5-90B4-46CE281DC87A}" dt="2021-09-28T20:15:56.051" v="550" actId="478"/>
          <ac:spMkLst>
            <pc:docMk/>
            <pc:sldMk cId="431240936" sldId="2147196800"/>
            <ac:spMk id="4" creationId="{87CC9348-1D91-447F-8BBF-7B6B5B71F3E2}"/>
          </ac:spMkLst>
        </pc:spChg>
        <pc:spChg chg="add">
          <ac:chgData name="Brattås, Johan Ludvig" userId="07156f80-05ad-490f-8d18-32a2a8907af8" providerId="ADAL" clId="{B1516F74-8675-48F5-90B4-46CE281DC87A}" dt="2021-09-28T20:16:07.090" v="552" actId="26606"/>
          <ac:spMkLst>
            <pc:docMk/>
            <pc:sldMk cId="431240936" sldId="2147196800"/>
            <ac:spMk id="9" creationId="{845DB188-4006-4207-A473-B4B569C5B5FE}"/>
          </ac:spMkLst>
        </pc:spChg>
        <pc:spChg chg="add">
          <ac:chgData name="Brattås, Johan Ludvig" userId="07156f80-05ad-490f-8d18-32a2a8907af8" providerId="ADAL" clId="{B1516F74-8675-48F5-90B4-46CE281DC87A}" dt="2021-09-28T20:16:07.090" v="552" actId="26606"/>
          <ac:spMkLst>
            <pc:docMk/>
            <pc:sldMk cId="431240936" sldId="2147196800"/>
            <ac:spMk id="11" creationId="{BAB4522D-D095-4687-BFB3-976E665AD4F6}"/>
          </ac:spMkLst>
        </pc:spChg>
        <pc:spChg chg="add">
          <ac:chgData name="Brattås, Johan Ludvig" userId="07156f80-05ad-490f-8d18-32a2a8907af8" providerId="ADAL" clId="{B1516F74-8675-48F5-90B4-46CE281DC87A}" dt="2021-09-28T20:16:07.090" v="552" actId="26606"/>
          <ac:spMkLst>
            <pc:docMk/>
            <pc:sldMk cId="431240936" sldId="2147196800"/>
            <ac:spMk id="13" creationId="{CDF7C9B3-01BE-4D46-ACA2-312DFE36A143}"/>
          </ac:spMkLst>
        </pc:spChg>
        <pc:graphicFrameChg chg="add mod">
          <ac:chgData name="Brattås, Johan Ludvig" userId="07156f80-05ad-490f-8d18-32a2a8907af8" providerId="ADAL" clId="{B1516F74-8675-48F5-90B4-46CE281DC87A}" dt="2021-09-28T20:30:09.048" v="694"/>
          <ac:graphicFrameMkLst>
            <pc:docMk/>
            <pc:sldMk cId="431240936" sldId="2147196800"/>
            <ac:graphicFrameMk id="5" creationId="{9D22954C-93EC-43E9-BC3A-5B915BB39FD7}"/>
          </ac:graphicFrameMkLst>
        </pc:graphicFrameChg>
        <pc:graphicFrameChg chg="add del mod">
          <ac:chgData name="Brattås, Johan Ludvig" userId="07156f80-05ad-490f-8d18-32a2a8907af8" providerId="ADAL" clId="{B1516F74-8675-48F5-90B4-46CE281DC87A}" dt="2021-09-28T20:15:52.102" v="549" actId="26606"/>
          <ac:graphicFrameMkLst>
            <pc:docMk/>
            <pc:sldMk cId="431240936" sldId="2147196800"/>
            <ac:graphicFrameMk id="6" creationId="{3AC7D7A4-91D1-4E34-B517-B2119B64F039}"/>
          </ac:graphicFrameMkLst>
        </pc:graphicFrameChg>
        <pc:picChg chg="add del mod">
          <ac:chgData name="Brattås, Johan Ludvig" userId="07156f80-05ad-490f-8d18-32a2a8907af8" providerId="ADAL" clId="{B1516F74-8675-48F5-90B4-46CE281DC87A}" dt="2021-09-28T20:29:15.817" v="693"/>
          <ac:picMkLst>
            <pc:docMk/>
            <pc:sldMk cId="431240936" sldId="2147196800"/>
            <ac:picMk id="10" creationId="{5E081A55-EAF5-4FD6-9CA1-B6A4F704883B}"/>
          </ac:picMkLst>
        </pc:picChg>
      </pc:sldChg>
      <pc:sldChg chg="addSp delSp modSp new mod setBg">
        <pc:chgData name="Brattås, Johan Ludvig" userId="07156f80-05ad-490f-8d18-32a2a8907af8" providerId="ADAL" clId="{B1516F74-8675-48F5-90B4-46CE281DC87A}" dt="2021-09-28T21:05:49.394" v="2120" actId="20577"/>
        <pc:sldMkLst>
          <pc:docMk/>
          <pc:sldMk cId="4008465855" sldId="2147196801"/>
        </pc:sldMkLst>
        <pc:spChg chg="add del mod">
          <ac:chgData name="Brattås, Johan Ludvig" userId="07156f80-05ad-490f-8d18-32a2a8907af8" providerId="ADAL" clId="{B1516F74-8675-48F5-90B4-46CE281DC87A}" dt="2021-09-28T20:25:09.778" v="671" actId="26606"/>
          <ac:spMkLst>
            <pc:docMk/>
            <pc:sldMk cId="4008465855" sldId="2147196801"/>
            <ac:spMk id="2" creationId="{F53B8648-E2A7-4F37-B3D6-429693CAE4AB}"/>
          </ac:spMkLst>
        </pc:spChg>
        <pc:spChg chg="mod">
          <ac:chgData name="Brattås, Johan Ludvig" userId="07156f80-05ad-490f-8d18-32a2a8907af8" providerId="ADAL" clId="{B1516F74-8675-48F5-90B4-46CE281DC87A}" dt="2021-09-28T21:05:49.394" v="2120" actId="20577"/>
          <ac:spMkLst>
            <pc:docMk/>
            <pc:sldMk cId="4008465855" sldId="2147196801"/>
            <ac:spMk id="3" creationId="{FD20A92F-0D31-4D66-9535-A65B1A53C2C2}"/>
          </ac:spMkLst>
        </pc:spChg>
        <pc:spChg chg="del">
          <ac:chgData name="Brattås, Johan Ludvig" userId="07156f80-05ad-490f-8d18-32a2a8907af8" providerId="ADAL" clId="{B1516F74-8675-48F5-90B4-46CE281DC87A}" dt="2021-09-28T20:20:24.929" v="563" actId="478"/>
          <ac:spMkLst>
            <pc:docMk/>
            <pc:sldMk cId="4008465855" sldId="2147196801"/>
            <ac:spMk id="4" creationId="{A029D49E-66DD-440A-B073-923D562DB5E3}"/>
          </ac:spMkLst>
        </pc:spChg>
        <pc:spChg chg="add mod">
          <ac:chgData name="Brattås, Johan Ludvig" userId="07156f80-05ad-490f-8d18-32a2a8907af8" providerId="ADAL" clId="{B1516F74-8675-48F5-90B4-46CE281DC87A}" dt="2021-09-28T20:22:27.634" v="580"/>
          <ac:spMkLst>
            <pc:docMk/>
            <pc:sldMk cId="4008465855" sldId="2147196801"/>
            <ac:spMk id="5" creationId="{D211C069-39B2-4B41-89DC-0997E7CF91FA}"/>
          </ac:spMkLst>
        </pc:spChg>
        <pc:spChg chg="add del mod">
          <ac:chgData name="Brattås, Johan Ludvig" userId="07156f80-05ad-490f-8d18-32a2a8907af8" providerId="ADAL" clId="{B1516F74-8675-48F5-90B4-46CE281DC87A}" dt="2021-09-28T20:25:32.530" v="675" actId="478"/>
          <ac:spMkLst>
            <pc:docMk/>
            <pc:sldMk cId="4008465855" sldId="2147196801"/>
            <ac:spMk id="6" creationId="{7CF838EE-20EB-4D92-8381-5F1677FC8DAA}"/>
          </ac:spMkLst>
        </pc:spChg>
        <pc:spChg chg="add del">
          <ac:chgData name="Brattås, Johan Ludvig" userId="07156f80-05ad-490f-8d18-32a2a8907af8" providerId="ADAL" clId="{B1516F74-8675-48F5-90B4-46CE281DC87A}" dt="2021-09-28T20:25:09.778" v="671" actId="26606"/>
          <ac:spMkLst>
            <pc:docMk/>
            <pc:sldMk cId="4008465855" sldId="2147196801"/>
            <ac:spMk id="13" creationId="{4F645BF8-7885-4398-80BC-4C0DF24F5CEE}"/>
          </ac:spMkLst>
        </pc:spChg>
        <pc:spChg chg="add del">
          <ac:chgData name="Brattås, Johan Ludvig" userId="07156f80-05ad-490f-8d18-32a2a8907af8" providerId="ADAL" clId="{B1516F74-8675-48F5-90B4-46CE281DC87A}" dt="2021-09-28T20:25:09.778" v="671" actId="26606"/>
          <ac:spMkLst>
            <pc:docMk/>
            <pc:sldMk cId="4008465855" sldId="2147196801"/>
            <ac:spMk id="15" creationId="{3212FB65-CD2B-4005-B910-132DCE19FCC7}"/>
          </ac:spMkLst>
        </pc:spChg>
        <pc:spChg chg="add del">
          <ac:chgData name="Brattås, Johan Ludvig" userId="07156f80-05ad-490f-8d18-32a2a8907af8" providerId="ADAL" clId="{B1516F74-8675-48F5-90B4-46CE281DC87A}" dt="2021-09-28T20:25:09.778" v="671" actId="26606"/>
          <ac:spMkLst>
            <pc:docMk/>
            <pc:sldMk cId="4008465855" sldId="2147196801"/>
            <ac:spMk id="17" creationId="{EE9F5D7F-1BBC-4096-ADA7-AA9C9E4D2868}"/>
          </ac:spMkLst>
        </pc:spChg>
        <pc:spChg chg="add del">
          <ac:chgData name="Brattås, Johan Ludvig" userId="07156f80-05ad-490f-8d18-32a2a8907af8" providerId="ADAL" clId="{B1516F74-8675-48F5-90B4-46CE281DC87A}" dt="2021-09-28T20:25:09.778" v="671" actId="26606"/>
          <ac:spMkLst>
            <pc:docMk/>
            <pc:sldMk cId="4008465855" sldId="2147196801"/>
            <ac:spMk id="19" creationId="{06D370DD-716B-4528-B475-331F84CEA5A1}"/>
          </ac:spMkLst>
        </pc:spChg>
        <pc:spChg chg="add del">
          <ac:chgData name="Brattås, Johan Ludvig" userId="07156f80-05ad-490f-8d18-32a2a8907af8" providerId="ADAL" clId="{B1516F74-8675-48F5-90B4-46CE281DC87A}" dt="2021-09-28T20:25:09.778" v="671" actId="26606"/>
          <ac:spMkLst>
            <pc:docMk/>
            <pc:sldMk cId="4008465855" sldId="2147196801"/>
            <ac:spMk id="21" creationId="{E79D076F-656A-4CD9-83AD-AF8F4B28CA49}"/>
          </ac:spMkLst>
        </pc:spChg>
        <pc:picChg chg="add del mod">
          <ac:chgData name="Brattås, Johan Ludvig" userId="07156f80-05ad-490f-8d18-32a2a8907af8" providerId="ADAL" clId="{B1516F74-8675-48F5-90B4-46CE281DC87A}" dt="2021-09-28T20:44:10.249" v="1288" actId="208"/>
          <ac:picMkLst>
            <pc:docMk/>
            <pc:sldMk cId="4008465855" sldId="2147196801"/>
            <ac:picMk id="10" creationId="{7499F0B8-9F09-47AE-B008-C3D09E4E748D}"/>
          </ac:picMkLst>
        </pc:picChg>
      </pc:sldChg>
      <pc:sldChg chg="addSp delSp modSp new mod setBg modAnim">
        <pc:chgData name="Brattås, Johan Ludvig" userId="07156f80-05ad-490f-8d18-32a2a8907af8" providerId="ADAL" clId="{B1516F74-8675-48F5-90B4-46CE281DC87A}" dt="2021-09-28T20:35:09.300" v="926" actId="20577"/>
        <pc:sldMkLst>
          <pc:docMk/>
          <pc:sldMk cId="720986074" sldId="2147196802"/>
        </pc:sldMkLst>
        <pc:spChg chg="mod">
          <ac:chgData name="Brattås, Johan Ludvig" userId="07156f80-05ad-490f-8d18-32a2a8907af8" providerId="ADAL" clId="{B1516F74-8675-48F5-90B4-46CE281DC87A}" dt="2021-09-28T20:33:22.427" v="855" actId="26606"/>
          <ac:spMkLst>
            <pc:docMk/>
            <pc:sldMk cId="720986074" sldId="2147196802"/>
            <ac:spMk id="2" creationId="{FA5C033C-60D3-4CB7-A8FD-E9D54D49412B}"/>
          </ac:spMkLst>
        </pc:spChg>
        <pc:spChg chg="mod">
          <ac:chgData name="Brattås, Johan Ludvig" userId="07156f80-05ad-490f-8d18-32a2a8907af8" providerId="ADAL" clId="{B1516F74-8675-48F5-90B4-46CE281DC87A}" dt="2021-09-28T20:35:09.300" v="926" actId="20577"/>
          <ac:spMkLst>
            <pc:docMk/>
            <pc:sldMk cId="720986074" sldId="2147196802"/>
            <ac:spMk id="3" creationId="{FF80A979-EE21-42FA-947D-39BC46B98732}"/>
          </ac:spMkLst>
        </pc:spChg>
        <pc:spChg chg="del">
          <ac:chgData name="Brattås, Johan Ludvig" userId="07156f80-05ad-490f-8d18-32a2a8907af8" providerId="ADAL" clId="{B1516F74-8675-48F5-90B4-46CE281DC87A}" dt="2021-09-28T20:30:29.081" v="696" actId="478"/>
          <ac:spMkLst>
            <pc:docMk/>
            <pc:sldMk cId="720986074" sldId="2147196802"/>
            <ac:spMk id="4" creationId="{FF9137CA-5006-4689-82B7-542DC5275FFC}"/>
          </ac:spMkLst>
        </pc:spChg>
        <pc:spChg chg="add">
          <ac:chgData name="Brattås, Johan Ludvig" userId="07156f80-05ad-490f-8d18-32a2a8907af8" providerId="ADAL" clId="{B1516F74-8675-48F5-90B4-46CE281DC87A}" dt="2021-09-28T20:33:22.427" v="855" actId="26606"/>
          <ac:spMkLst>
            <pc:docMk/>
            <pc:sldMk cId="720986074" sldId="2147196802"/>
            <ac:spMk id="10" creationId="{4F645BF8-7885-4398-80BC-4C0DF24F5CEE}"/>
          </ac:spMkLst>
        </pc:spChg>
        <pc:spChg chg="add">
          <ac:chgData name="Brattås, Johan Ludvig" userId="07156f80-05ad-490f-8d18-32a2a8907af8" providerId="ADAL" clId="{B1516F74-8675-48F5-90B4-46CE281DC87A}" dt="2021-09-28T20:33:22.427" v="855" actId="26606"/>
          <ac:spMkLst>
            <pc:docMk/>
            <pc:sldMk cId="720986074" sldId="2147196802"/>
            <ac:spMk id="12" creationId="{3212FB65-CD2B-4005-B910-132DCE19FCC7}"/>
          </ac:spMkLst>
        </pc:spChg>
        <pc:spChg chg="add">
          <ac:chgData name="Brattås, Johan Ludvig" userId="07156f80-05ad-490f-8d18-32a2a8907af8" providerId="ADAL" clId="{B1516F74-8675-48F5-90B4-46CE281DC87A}" dt="2021-09-28T20:33:22.427" v="855" actId="26606"/>
          <ac:spMkLst>
            <pc:docMk/>
            <pc:sldMk cId="720986074" sldId="2147196802"/>
            <ac:spMk id="14" creationId="{EE9F5D7F-1BBC-4096-ADA7-AA9C9E4D2868}"/>
          </ac:spMkLst>
        </pc:spChg>
        <pc:spChg chg="add">
          <ac:chgData name="Brattås, Johan Ludvig" userId="07156f80-05ad-490f-8d18-32a2a8907af8" providerId="ADAL" clId="{B1516F74-8675-48F5-90B4-46CE281DC87A}" dt="2021-09-28T20:33:22.427" v="855" actId="26606"/>
          <ac:spMkLst>
            <pc:docMk/>
            <pc:sldMk cId="720986074" sldId="2147196802"/>
            <ac:spMk id="16" creationId="{06D370DD-716B-4528-B475-331F84CEA5A1}"/>
          </ac:spMkLst>
        </pc:spChg>
        <pc:spChg chg="add">
          <ac:chgData name="Brattås, Johan Ludvig" userId="07156f80-05ad-490f-8d18-32a2a8907af8" providerId="ADAL" clId="{B1516F74-8675-48F5-90B4-46CE281DC87A}" dt="2021-09-28T20:33:22.427" v="855" actId="26606"/>
          <ac:spMkLst>
            <pc:docMk/>
            <pc:sldMk cId="720986074" sldId="2147196802"/>
            <ac:spMk id="18" creationId="{E79D076F-656A-4CD9-83AD-AF8F4B28CA49}"/>
          </ac:spMkLst>
        </pc:spChg>
        <pc:picChg chg="add mod">
          <ac:chgData name="Brattås, Johan Ludvig" userId="07156f80-05ad-490f-8d18-32a2a8907af8" providerId="ADAL" clId="{B1516F74-8675-48F5-90B4-46CE281DC87A}" dt="2021-09-28T20:34:07.693" v="856" actId="14826"/>
          <ac:picMkLst>
            <pc:docMk/>
            <pc:sldMk cId="720986074" sldId="2147196802"/>
            <ac:picMk id="7" creationId="{C79E2990-A2E6-4285-9DE1-C5AB2377A752}"/>
          </ac:picMkLst>
        </pc:picChg>
      </pc:sldChg>
      <pc:sldChg chg="modSp add mod modAnim">
        <pc:chgData name="Brattås, Johan Ludvig" userId="07156f80-05ad-490f-8d18-32a2a8907af8" providerId="ADAL" clId="{B1516F74-8675-48F5-90B4-46CE281DC87A}" dt="2021-09-28T20:45:39.961" v="1319"/>
        <pc:sldMkLst>
          <pc:docMk/>
          <pc:sldMk cId="2226233590" sldId="2147196803"/>
        </pc:sldMkLst>
        <pc:spChg chg="mod">
          <ac:chgData name="Brattås, Johan Ludvig" userId="07156f80-05ad-490f-8d18-32a2a8907af8" providerId="ADAL" clId="{B1516F74-8675-48F5-90B4-46CE281DC87A}" dt="2021-09-28T20:35:23.967" v="935" actId="20577"/>
          <ac:spMkLst>
            <pc:docMk/>
            <pc:sldMk cId="2226233590" sldId="2147196803"/>
            <ac:spMk id="2" creationId="{FA5C033C-60D3-4CB7-A8FD-E9D54D49412B}"/>
          </ac:spMkLst>
        </pc:spChg>
        <pc:spChg chg="mod">
          <ac:chgData name="Brattås, Johan Ludvig" userId="07156f80-05ad-490f-8d18-32a2a8907af8" providerId="ADAL" clId="{B1516F74-8675-48F5-90B4-46CE281DC87A}" dt="2021-09-28T20:45:21.843" v="1318"/>
          <ac:spMkLst>
            <pc:docMk/>
            <pc:sldMk cId="2226233590" sldId="2147196803"/>
            <ac:spMk id="3" creationId="{FF80A979-EE21-42FA-947D-39BC46B98732}"/>
          </ac:spMkLst>
        </pc:spChg>
        <pc:picChg chg="mod">
          <ac:chgData name="Brattås, Johan Ludvig" userId="07156f80-05ad-490f-8d18-32a2a8907af8" providerId="ADAL" clId="{B1516F74-8675-48F5-90B4-46CE281DC87A}" dt="2021-09-28T20:43:19.252" v="1284" actId="208"/>
          <ac:picMkLst>
            <pc:docMk/>
            <pc:sldMk cId="2226233590" sldId="2147196803"/>
            <ac:picMk id="7" creationId="{C79E2990-A2E6-4285-9DE1-C5AB2377A752}"/>
          </ac:picMkLst>
        </pc:picChg>
      </pc:sldChg>
      <pc:sldChg chg="modSp add mod modAnim">
        <pc:chgData name="Brattås, Johan Ludvig" userId="07156f80-05ad-490f-8d18-32a2a8907af8" providerId="ADAL" clId="{B1516F74-8675-48F5-90B4-46CE281DC87A}" dt="2021-09-28T20:57:49.347" v="1608" actId="20577"/>
        <pc:sldMkLst>
          <pc:docMk/>
          <pc:sldMk cId="4198990747" sldId="2147196804"/>
        </pc:sldMkLst>
        <pc:spChg chg="mod">
          <ac:chgData name="Brattås, Johan Ludvig" userId="07156f80-05ad-490f-8d18-32a2a8907af8" providerId="ADAL" clId="{B1516F74-8675-48F5-90B4-46CE281DC87A}" dt="2021-09-28T20:57:49.347" v="1608" actId="20577"/>
          <ac:spMkLst>
            <pc:docMk/>
            <pc:sldMk cId="4198990747" sldId="2147196804"/>
            <ac:spMk id="3" creationId="{FF80A979-EE21-42FA-947D-39BC46B98732}"/>
          </ac:spMkLst>
        </pc:spChg>
        <pc:picChg chg="mod">
          <ac:chgData name="Brattås, Johan Ludvig" userId="07156f80-05ad-490f-8d18-32a2a8907af8" providerId="ADAL" clId="{B1516F74-8675-48F5-90B4-46CE281DC87A}" dt="2021-09-28T20:43:51.116" v="1286" actId="208"/>
          <ac:picMkLst>
            <pc:docMk/>
            <pc:sldMk cId="4198990747" sldId="2147196804"/>
            <ac:picMk id="7" creationId="{C79E2990-A2E6-4285-9DE1-C5AB2377A752}"/>
          </ac:picMkLst>
        </pc:picChg>
      </pc:sldChg>
      <pc:sldChg chg="modSp add modAnim">
        <pc:chgData name="Brattås, Johan Ludvig" userId="07156f80-05ad-490f-8d18-32a2a8907af8" providerId="ADAL" clId="{B1516F74-8675-48F5-90B4-46CE281DC87A}" dt="2021-09-28T21:04:53.102" v="2064" actId="20577"/>
        <pc:sldMkLst>
          <pc:docMk/>
          <pc:sldMk cId="1305737966" sldId="2147196805"/>
        </pc:sldMkLst>
        <pc:spChg chg="mod">
          <ac:chgData name="Brattås, Johan Ludvig" userId="07156f80-05ad-490f-8d18-32a2a8907af8" providerId="ADAL" clId="{B1516F74-8675-48F5-90B4-46CE281DC87A}" dt="2021-09-28T21:04:53.102" v="2064" actId="20577"/>
          <ac:spMkLst>
            <pc:docMk/>
            <pc:sldMk cId="1305737966" sldId="2147196805"/>
            <ac:spMk id="3" creationId="{FF80A979-EE21-42FA-947D-39BC46B98732}"/>
          </ac:spMkLst>
        </pc:spChg>
      </pc:sldChg>
      <pc:sldChg chg="modSp add modAnim">
        <pc:chgData name="Brattås, Johan Ludvig" userId="07156f80-05ad-490f-8d18-32a2a8907af8" providerId="ADAL" clId="{B1516F74-8675-48F5-90B4-46CE281DC87A}" dt="2021-09-28T21:01:28.780" v="1921" actId="5793"/>
        <pc:sldMkLst>
          <pc:docMk/>
          <pc:sldMk cId="1135544315" sldId="2147196806"/>
        </pc:sldMkLst>
        <pc:spChg chg="mod">
          <ac:chgData name="Brattås, Johan Ludvig" userId="07156f80-05ad-490f-8d18-32a2a8907af8" providerId="ADAL" clId="{B1516F74-8675-48F5-90B4-46CE281DC87A}" dt="2021-09-28T21:01:28.780" v="1921" actId="5793"/>
          <ac:spMkLst>
            <pc:docMk/>
            <pc:sldMk cId="1135544315" sldId="2147196806"/>
            <ac:spMk id="3" creationId="{FF80A979-EE21-42FA-947D-39BC46B98732}"/>
          </ac:spMkLst>
        </pc:spChg>
      </pc:sldChg>
      <pc:sldChg chg="modSp add mod modAnim">
        <pc:chgData name="Brattås, Johan Ludvig" userId="07156f80-05ad-490f-8d18-32a2a8907af8" providerId="ADAL" clId="{B1516F74-8675-48F5-90B4-46CE281DC87A}" dt="2021-09-28T21:02:31.546" v="1940" actId="6549"/>
        <pc:sldMkLst>
          <pc:docMk/>
          <pc:sldMk cId="4017332742" sldId="2147196807"/>
        </pc:sldMkLst>
        <pc:spChg chg="mod">
          <ac:chgData name="Brattås, Johan Ludvig" userId="07156f80-05ad-490f-8d18-32a2a8907af8" providerId="ADAL" clId="{B1516F74-8675-48F5-90B4-46CE281DC87A}" dt="2021-09-28T21:02:31.546" v="1940" actId="6549"/>
          <ac:spMkLst>
            <pc:docMk/>
            <pc:sldMk cId="4017332742" sldId="2147196807"/>
            <ac:spMk id="3" creationId="{FF80A979-EE21-42FA-947D-39BC46B98732}"/>
          </ac:spMkLst>
        </pc:spChg>
      </pc:sldChg>
      <pc:sldChg chg="modSp add mod modAnim">
        <pc:chgData name="Brattås, Johan Ludvig" userId="07156f80-05ad-490f-8d18-32a2a8907af8" providerId="ADAL" clId="{B1516F74-8675-48F5-90B4-46CE281DC87A}" dt="2021-09-28T21:07:00.183" v="2201" actId="1076"/>
        <pc:sldMkLst>
          <pc:docMk/>
          <pc:sldMk cId="689633500" sldId="2147196808"/>
        </pc:sldMkLst>
        <pc:spChg chg="mod">
          <ac:chgData name="Brattås, Johan Ludvig" userId="07156f80-05ad-490f-8d18-32a2a8907af8" providerId="ADAL" clId="{B1516F74-8675-48F5-90B4-46CE281DC87A}" dt="2021-09-28T21:06:57.459" v="2200" actId="12"/>
          <ac:spMkLst>
            <pc:docMk/>
            <pc:sldMk cId="689633500" sldId="2147196808"/>
            <ac:spMk id="3" creationId="{FD20A92F-0D31-4D66-9535-A65B1A53C2C2}"/>
          </ac:spMkLst>
        </pc:spChg>
        <pc:picChg chg="mod">
          <ac:chgData name="Brattås, Johan Ludvig" userId="07156f80-05ad-490f-8d18-32a2a8907af8" providerId="ADAL" clId="{B1516F74-8675-48F5-90B4-46CE281DC87A}" dt="2021-09-28T21:07:00.183" v="2201" actId="1076"/>
          <ac:picMkLst>
            <pc:docMk/>
            <pc:sldMk cId="689633500" sldId="2147196808"/>
            <ac:picMk id="10" creationId="{7499F0B8-9F09-47AE-B008-C3D09E4E748D}"/>
          </ac:picMkLst>
        </pc:picChg>
      </pc:sldChg>
      <pc:sldChg chg="modSp add mod modAnim">
        <pc:chgData name="Brattås, Johan Ludvig" userId="07156f80-05ad-490f-8d18-32a2a8907af8" providerId="ADAL" clId="{B1516F74-8675-48F5-90B4-46CE281DC87A}" dt="2021-09-29T09:47:17.346" v="3280" actId="20577"/>
        <pc:sldMkLst>
          <pc:docMk/>
          <pc:sldMk cId="684539983" sldId="2147196809"/>
        </pc:sldMkLst>
        <pc:spChg chg="mod">
          <ac:chgData name="Brattås, Johan Ludvig" userId="07156f80-05ad-490f-8d18-32a2a8907af8" providerId="ADAL" clId="{B1516F74-8675-48F5-90B4-46CE281DC87A}" dt="2021-09-28T21:09:06.228" v="2219" actId="20577"/>
          <ac:spMkLst>
            <pc:docMk/>
            <pc:sldMk cId="684539983" sldId="2147196809"/>
            <ac:spMk id="2" creationId="{F53B8648-E2A7-4F37-B3D6-429693CAE4AB}"/>
          </ac:spMkLst>
        </pc:spChg>
        <pc:spChg chg="mod">
          <ac:chgData name="Brattås, Johan Ludvig" userId="07156f80-05ad-490f-8d18-32a2a8907af8" providerId="ADAL" clId="{B1516F74-8675-48F5-90B4-46CE281DC87A}" dt="2021-09-29T09:47:06.494" v="3279" actId="20577"/>
          <ac:spMkLst>
            <pc:docMk/>
            <pc:sldMk cId="684539983" sldId="2147196809"/>
            <ac:spMk id="3" creationId="{FD20A92F-0D31-4D66-9535-A65B1A53C2C2}"/>
          </ac:spMkLst>
        </pc:spChg>
        <pc:picChg chg="mod">
          <ac:chgData name="Brattås, Johan Ludvig" userId="07156f80-05ad-490f-8d18-32a2a8907af8" providerId="ADAL" clId="{B1516F74-8675-48F5-90B4-46CE281DC87A}" dt="2021-09-28T21:08:50.139" v="2206" actId="208"/>
          <ac:picMkLst>
            <pc:docMk/>
            <pc:sldMk cId="684539983" sldId="2147196809"/>
            <ac:picMk id="10" creationId="{7499F0B8-9F09-47AE-B008-C3D09E4E748D}"/>
          </ac:picMkLst>
        </pc:picChg>
      </pc:sldChg>
      <pc:sldChg chg="modSp add modAnim">
        <pc:chgData name="Brattås, Johan Ludvig" userId="07156f80-05ad-490f-8d18-32a2a8907af8" providerId="ADAL" clId="{B1516F74-8675-48F5-90B4-46CE281DC87A}" dt="2021-09-29T09:47:29.555" v="3282" actId="20577"/>
        <pc:sldMkLst>
          <pc:docMk/>
          <pc:sldMk cId="4083880119" sldId="2147196810"/>
        </pc:sldMkLst>
        <pc:spChg chg="mod">
          <ac:chgData name="Brattås, Johan Ludvig" userId="07156f80-05ad-490f-8d18-32a2a8907af8" providerId="ADAL" clId="{B1516F74-8675-48F5-90B4-46CE281DC87A}" dt="2021-09-29T09:47:29.555" v="3282" actId="20577"/>
          <ac:spMkLst>
            <pc:docMk/>
            <pc:sldMk cId="4083880119" sldId="2147196810"/>
            <ac:spMk id="3" creationId="{FD20A92F-0D31-4D66-9535-A65B1A53C2C2}"/>
          </ac:spMkLst>
        </pc:spChg>
      </pc:sldChg>
      <pc:sldChg chg="addSp delSp modSp new mod ord modClrScheme chgLayout">
        <pc:chgData name="Brattås, Johan Ludvig" userId="07156f80-05ad-490f-8d18-32a2a8907af8" providerId="ADAL" clId="{B1516F74-8675-48F5-90B4-46CE281DC87A}" dt="2021-09-28T21:17:56.676" v="2562"/>
        <pc:sldMkLst>
          <pc:docMk/>
          <pc:sldMk cId="1467855238" sldId="2147196811"/>
        </pc:sldMkLst>
        <pc:spChg chg="del mod ord">
          <ac:chgData name="Brattås, Johan Ludvig" userId="07156f80-05ad-490f-8d18-32a2a8907af8" providerId="ADAL" clId="{B1516F74-8675-48F5-90B4-46CE281DC87A}" dt="2021-09-28T21:15:35.105" v="2432" actId="700"/>
          <ac:spMkLst>
            <pc:docMk/>
            <pc:sldMk cId="1467855238" sldId="2147196811"/>
            <ac:spMk id="2" creationId="{5CFD95E8-C28D-4A53-94EE-22B9B44E3095}"/>
          </ac:spMkLst>
        </pc:spChg>
        <pc:spChg chg="del">
          <ac:chgData name="Brattås, Johan Ludvig" userId="07156f80-05ad-490f-8d18-32a2a8907af8" providerId="ADAL" clId="{B1516F74-8675-48F5-90B4-46CE281DC87A}" dt="2021-09-28T21:15:35.105" v="2432" actId="700"/>
          <ac:spMkLst>
            <pc:docMk/>
            <pc:sldMk cId="1467855238" sldId="2147196811"/>
            <ac:spMk id="3" creationId="{F10B6402-9D89-407C-B29B-73BC161C7B60}"/>
          </ac:spMkLst>
        </pc:spChg>
        <pc:spChg chg="add mod ord">
          <ac:chgData name="Brattås, Johan Ludvig" userId="07156f80-05ad-490f-8d18-32a2a8907af8" providerId="ADAL" clId="{B1516F74-8675-48F5-90B4-46CE281DC87A}" dt="2021-09-28T21:16:38.571" v="2549" actId="26606"/>
          <ac:spMkLst>
            <pc:docMk/>
            <pc:sldMk cId="1467855238" sldId="2147196811"/>
            <ac:spMk id="4" creationId="{CEB921AA-4980-432E-AD16-0601D0AE2410}"/>
          </ac:spMkLst>
        </pc:spChg>
        <pc:spChg chg="add mod">
          <ac:chgData name="Brattås, Johan Ludvig" userId="07156f80-05ad-490f-8d18-32a2a8907af8" providerId="ADAL" clId="{B1516F74-8675-48F5-90B4-46CE281DC87A}" dt="2021-09-28T21:17:26.327" v="2560" actId="403"/>
          <ac:spMkLst>
            <pc:docMk/>
            <pc:sldMk cId="1467855238" sldId="2147196811"/>
            <ac:spMk id="5" creationId="{9DBD275B-ED62-4220-AAE4-1F88C9AC9FA1}"/>
          </ac:spMkLst>
        </pc:spChg>
        <pc:spChg chg="add del mod">
          <ac:chgData name="Brattås, Johan Ludvig" userId="07156f80-05ad-490f-8d18-32a2a8907af8" providerId="ADAL" clId="{B1516F74-8675-48F5-90B4-46CE281DC87A}" dt="2021-09-28T21:16:38.566" v="2548" actId="26606"/>
          <ac:spMkLst>
            <pc:docMk/>
            <pc:sldMk cId="1467855238" sldId="2147196811"/>
            <ac:spMk id="10" creationId="{3DE3FE58-E946-4E68-A80E-B2F14588F776}"/>
          </ac:spMkLst>
        </pc:spChg>
        <pc:spChg chg="add del mod">
          <ac:chgData name="Brattås, Johan Ludvig" userId="07156f80-05ad-490f-8d18-32a2a8907af8" providerId="ADAL" clId="{B1516F74-8675-48F5-90B4-46CE281DC87A}" dt="2021-09-28T21:16:38.566" v="2548" actId="26606"/>
          <ac:spMkLst>
            <pc:docMk/>
            <pc:sldMk cId="1467855238" sldId="2147196811"/>
            <ac:spMk id="12" creationId="{AA6A23F9-2442-4105-A34D-85A9E2958653}"/>
          </ac:spMkLst>
        </pc:spChg>
        <pc:spChg chg="add del mod">
          <ac:chgData name="Brattås, Johan Ludvig" userId="07156f80-05ad-490f-8d18-32a2a8907af8" providerId="ADAL" clId="{B1516F74-8675-48F5-90B4-46CE281DC87A}" dt="2021-09-28T21:16:38.566" v="2548" actId="26606"/>
          <ac:spMkLst>
            <pc:docMk/>
            <pc:sldMk cId="1467855238" sldId="2147196811"/>
            <ac:spMk id="14" creationId="{7AD3C8AB-A7FF-4AC0-9ED4-21292A195970}"/>
          </ac:spMkLst>
        </pc:spChg>
        <pc:spChg chg="add del mod">
          <ac:chgData name="Brattås, Johan Ludvig" userId="07156f80-05ad-490f-8d18-32a2a8907af8" providerId="ADAL" clId="{B1516F74-8675-48F5-90B4-46CE281DC87A}" dt="2021-09-28T21:16:38.566" v="2548" actId="26606"/>
          <ac:spMkLst>
            <pc:docMk/>
            <pc:sldMk cId="1467855238" sldId="2147196811"/>
            <ac:spMk id="16" creationId="{04E02FAC-8251-4D9A-B42F-935FC7E424FC}"/>
          </ac:spMkLst>
        </pc:spChg>
        <pc:spChg chg="add del mod">
          <ac:chgData name="Brattås, Johan Ludvig" userId="07156f80-05ad-490f-8d18-32a2a8907af8" providerId="ADAL" clId="{B1516F74-8675-48F5-90B4-46CE281DC87A}" dt="2021-09-28T21:16:38.566" v="2548" actId="26606"/>
          <ac:spMkLst>
            <pc:docMk/>
            <pc:sldMk cId="1467855238" sldId="2147196811"/>
            <ac:spMk id="18" creationId="{E4A2CB38-491E-4242-A344-8AB6A9D14091}"/>
          </ac:spMkLst>
        </pc:spChg>
        <pc:spChg chg="add del mod">
          <ac:chgData name="Brattås, Johan Ludvig" userId="07156f80-05ad-490f-8d18-32a2a8907af8" providerId="ADAL" clId="{B1516F74-8675-48F5-90B4-46CE281DC87A}" dt="2021-09-28T21:17:08.079" v="2550" actId="478"/>
          <ac:spMkLst>
            <pc:docMk/>
            <pc:sldMk cId="1467855238" sldId="2147196811"/>
            <ac:spMk id="20" creationId="{DD427C1B-94A1-49AB-B5FF-6DAD220E182A}"/>
          </ac:spMkLst>
        </pc:spChg>
        <pc:picChg chg="add mod">
          <ac:chgData name="Brattås, Johan Ludvig" userId="07156f80-05ad-490f-8d18-32a2a8907af8" providerId="ADAL" clId="{B1516F74-8675-48F5-90B4-46CE281DC87A}" dt="2021-09-28T21:17:21.287" v="2557" actId="1076"/>
          <ac:picMkLst>
            <pc:docMk/>
            <pc:sldMk cId="1467855238" sldId="2147196811"/>
            <ac:picMk id="13" creationId="{03D49877-456E-41F6-B1FA-DF9BCCF4AC86}"/>
          </ac:picMkLst>
        </pc:picChg>
      </pc:sldChg>
      <pc:sldChg chg="modSp add mod ord modAnim">
        <pc:chgData name="Brattås, Johan Ludvig" userId="07156f80-05ad-490f-8d18-32a2a8907af8" providerId="ADAL" clId="{B1516F74-8675-48F5-90B4-46CE281DC87A}" dt="2021-09-29T09:42:33.167" v="2850" actId="113"/>
        <pc:sldMkLst>
          <pc:docMk/>
          <pc:sldMk cId="2054482964" sldId="2147196812"/>
        </pc:sldMkLst>
        <pc:spChg chg="mod">
          <ac:chgData name="Brattås, Johan Ludvig" userId="07156f80-05ad-490f-8d18-32a2a8907af8" providerId="ADAL" clId="{B1516F74-8675-48F5-90B4-46CE281DC87A}" dt="2021-09-29T09:39:16.699" v="2685" actId="20577"/>
          <ac:spMkLst>
            <pc:docMk/>
            <pc:sldMk cId="2054482964" sldId="2147196812"/>
            <ac:spMk id="2" creationId="{FA5C033C-60D3-4CB7-A8FD-E9D54D49412B}"/>
          </ac:spMkLst>
        </pc:spChg>
        <pc:spChg chg="mod">
          <ac:chgData name="Brattås, Johan Ludvig" userId="07156f80-05ad-490f-8d18-32a2a8907af8" providerId="ADAL" clId="{B1516F74-8675-48F5-90B4-46CE281DC87A}" dt="2021-09-29T09:42:33.167" v="2850" actId="113"/>
          <ac:spMkLst>
            <pc:docMk/>
            <pc:sldMk cId="2054482964" sldId="2147196812"/>
            <ac:spMk id="3" creationId="{FF80A979-EE21-42FA-947D-39BC46B98732}"/>
          </ac:spMkLst>
        </pc:spChg>
        <pc:picChg chg="mod">
          <ac:chgData name="Brattås, Johan Ludvig" userId="07156f80-05ad-490f-8d18-32a2a8907af8" providerId="ADAL" clId="{B1516F74-8675-48F5-90B4-46CE281DC87A}" dt="2021-09-29T09:39:50.638" v="2688" actId="208"/>
          <ac:picMkLst>
            <pc:docMk/>
            <pc:sldMk cId="2054482964" sldId="2147196812"/>
            <ac:picMk id="7" creationId="{C79E2990-A2E6-4285-9DE1-C5AB2377A752}"/>
          </ac:picMkLst>
        </pc:picChg>
      </pc:sldChg>
      <pc:sldChg chg="modSp add modAnim">
        <pc:chgData name="Brattås, Johan Ludvig" userId="07156f80-05ad-490f-8d18-32a2a8907af8" providerId="ADAL" clId="{B1516F74-8675-48F5-90B4-46CE281DC87A}" dt="2021-09-29T09:44:30.026" v="3076" actId="20577"/>
        <pc:sldMkLst>
          <pc:docMk/>
          <pc:sldMk cId="3530761355" sldId="2147196813"/>
        </pc:sldMkLst>
        <pc:spChg chg="mod">
          <ac:chgData name="Brattås, Johan Ludvig" userId="07156f80-05ad-490f-8d18-32a2a8907af8" providerId="ADAL" clId="{B1516F74-8675-48F5-90B4-46CE281DC87A}" dt="2021-09-29T09:44:30.026" v="3076" actId="20577"/>
          <ac:spMkLst>
            <pc:docMk/>
            <pc:sldMk cId="3530761355" sldId="2147196813"/>
            <ac:spMk id="3" creationId="{FF80A979-EE21-42FA-947D-39BC46B98732}"/>
          </ac:spMkLst>
        </pc:spChg>
      </pc:sldChg>
      <pc:sldChg chg="delSp add del setBg delDesignElem">
        <pc:chgData name="Brattås, Johan Ludvig" userId="07156f80-05ad-490f-8d18-32a2a8907af8" providerId="ADAL" clId="{B1516F74-8675-48F5-90B4-46CE281DC87A}" dt="2021-09-29T09:47:20.506" v="3281" actId="2696"/>
        <pc:sldMkLst>
          <pc:docMk/>
          <pc:sldMk cId="1226328237" sldId="2147196814"/>
        </pc:sldMkLst>
        <pc:spChg chg="del">
          <ac:chgData name="Brattås, Johan Ludvig" userId="07156f80-05ad-490f-8d18-32a2a8907af8" providerId="ADAL" clId="{B1516F74-8675-48F5-90B4-46CE281DC87A}" dt="2021-09-29T09:44:44.847" v="3078"/>
          <ac:spMkLst>
            <pc:docMk/>
            <pc:sldMk cId="1226328237" sldId="2147196814"/>
            <ac:spMk id="10" creationId="{4F645BF8-7885-4398-80BC-4C0DF24F5CEE}"/>
          </ac:spMkLst>
        </pc:spChg>
        <pc:spChg chg="del">
          <ac:chgData name="Brattås, Johan Ludvig" userId="07156f80-05ad-490f-8d18-32a2a8907af8" providerId="ADAL" clId="{B1516F74-8675-48F5-90B4-46CE281DC87A}" dt="2021-09-29T09:44:44.847" v="3078"/>
          <ac:spMkLst>
            <pc:docMk/>
            <pc:sldMk cId="1226328237" sldId="2147196814"/>
            <ac:spMk id="12" creationId="{3212FB65-CD2B-4005-B910-132DCE19FCC7}"/>
          </ac:spMkLst>
        </pc:spChg>
        <pc:spChg chg="del">
          <ac:chgData name="Brattås, Johan Ludvig" userId="07156f80-05ad-490f-8d18-32a2a8907af8" providerId="ADAL" clId="{B1516F74-8675-48F5-90B4-46CE281DC87A}" dt="2021-09-29T09:44:44.847" v="3078"/>
          <ac:spMkLst>
            <pc:docMk/>
            <pc:sldMk cId="1226328237" sldId="2147196814"/>
            <ac:spMk id="14" creationId="{EE9F5D7F-1BBC-4096-ADA7-AA9C9E4D2868}"/>
          </ac:spMkLst>
        </pc:spChg>
        <pc:spChg chg="del">
          <ac:chgData name="Brattås, Johan Ludvig" userId="07156f80-05ad-490f-8d18-32a2a8907af8" providerId="ADAL" clId="{B1516F74-8675-48F5-90B4-46CE281DC87A}" dt="2021-09-29T09:44:44.847" v="3078"/>
          <ac:spMkLst>
            <pc:docMk/>
            <pc:sldMk cId="1226328237" sldId="2147196814"/>
            <ac:spMk id="16" creationId="{06D370DD-716B-4528-B475-331F84CEA5A1}"/>
          </ac:spMkLst>
        </pc:spChg>
        <pc:spChg chg="del">
          <ac:chgData name="Brattås, Johan Ludvig" userId="07156f80-05ad-490f-8d18-32a2a8907af8" providerId="ADAL" clId="{B1516F74-8675-48F5-90B4-46CE281DC87A}" dt="2021-09-29T09:44:44.847" v="3078"/>
          <ac:spMkLst>
            <pc:docMk/>
            <pc:sldMk cId="1226328237" sldId="2147196814"/>
            <ac:spMk id="18" creationId="{E79D076F-656A-4CD9-83AD-AF8F4B28CA49}"/>
          </ac:spMkLst>
        </pc:spChg>
      </pc:sldChg>
      <pc:sldChg chg="modSp add ord modAnim">
        <pc:chgData name="Brattås, Johan Ludvig" userId="07156f80-05ad-490f-8d18-32a2a8907af8" providerId="ADAL" clId="{B1516F74-8675-48F5-90B4-46CE281DC87A}" dt="2021-09-29T09:49:28.112" v="3481" actId="20577"/>
        <pc:sldMkLst>
          <pc:docMk/>
          <pc:sldMk cId="3689459826" sldId="2147196814"/>
        </pc:sldMkLst>
        <pc:spChg chg="mod">
          <ac:chgData name="Brattås, Johan Ludvig" userId="07156f80-05ad-490f-8d18-32a2a8907af8" providerId="ADAL" clId="{B1516F74-8675-48F5-90B4-46CE281DC87A}" dt="2021-09-29T09:49:28.112" v="3481" actId="20577"/>
          <ac:spMkLst>
            <pc:docMk/>
            <pc:sldMk cId="3689459826" sldId="2147196814"/>
            <ac:spMk id="3" creationId="{FF80A979-EE21-42FA-947D-39BC46B98732}"/>
          </ac:spMkLst>
        </pc:spChg>
      </pc:sldChg>
      <pc:sldMasterChg chg="addSp delSldLayout">
        <pc:chgData name="Brattås, Johan Ludvig" userId="07156f80-05ad-490f-8d18-32a2a8907af8" providerId="ADAL" clId="{B1516F74-8675-48F5-90B4-46CE281DC87A}" dt="2021-09-29T20:35:49.242" v="3485" actId="47"/>
        <pc:sldMasterMkLst>
          <pc:docMk/>
          <pc:sldMasterMk cId="3859867780" sldId="2147483949"/>
        </pc:sldMasterMkLst>
        <pc:spChg chg="add">
          <ac:chgData name="Brattås, Johan Ludvig" userId="07156f80-05ad-490f-8d18-32a2a8907af8" providerId="ADAL" clId="{B1516F74-8675-48F5-90B4-46CE281DC87A}" dt="2021-09-28T19:54:23.772" v="286"/>
          <ac:spMkLst>
            <pc:docMk/>
            <pc:sldMasterMk cId="3859867780" sldId="2147483949"/>
            <ac:spMk id="12" creationId="{13E8F64A-A4FE-4CF3-BD94-757B1702ECB4}"/>
          </ac:spMkLst>
        </pc:spChg>
        <pc:spChg chg="add">
          <ac:chgData name="Brattås, Johan Ludvig" userId="07156f80-05ad-490f-8d18-32a2a8907af8" providerId="ADAL" clId="{B1516F74-8675-48F5-90B4-46CE281DC87A}" dt="2021-09-28T19:54:23.772" v="286"/>
          <ac:spMkLst>
            <pc:docMk/>
            <pc:sldMasterMk cId="3859867780" sldId="2147483949"/>
            <ac:spMk id="13" creationId="{9FA9C15B-988C-41B8-A663-495EC530514F}"/>
          </ac:spMkLst>
        </pc:spChg>
        <pc:spChg chg="add">
          <ac:chgData name="Brattås, Johan Ludvig" userId="07156f80-05ad-490f-8d18-32a2a8907af8" providerId="ADAL" clId="{B1516F74-8675-48F5-90B4-46CE281DC87A}" dt="2021-09-28T19:54:23.772" v="286"/>
          <ac:spMkLst>
            <pc:docMk/>
            <pc:sldMasterMk cId="3859867780" sldId="2147483949"/>
            <ac:spMk id="14" creationId="{D4FBF8B9-7183-41E3-B1DB-EEC223EF0477}"/>
          </ac:spMkLst>
        </pc:spChg>
        <pc:spChg chg="add">
          <ac:chgData name="Brattås, Johan Ludvig" userId="07156f80-05ad-490f-8d18-32a2a8907af8" providerId="ADAL" clId="{B1516F74-8675-48F5-90B4-46CE281DC87A}" dt="2021-09-28T19:54:23.772" v="286"/>
          <ac:spMkLst>
            <pc:docMk/>
            <pc:sldMasterMk cId="3859867780" sldId="2147483949"/>
            <ac:spMk id="15" creationId="{AB1898C7-ED14-454B-B673-9D1A0150096B}"/>
          </ac:spMkLst>
        </pc:spChg>
        <pc:grpChg chg="add">
          <ac:chgData name="Brattås, Johan Ludvig" userId="07156f80-05ad-490f-8d18-32a2a8907af8" providerId="ADAL" clId="{B1516F74-8675-48F5-90B4-46CE281DC87A}" dt="2021-09-28T19:54:23.772" v="286"/>
          <ac:grpSpMkLst>
            <pc:docMk/>
            <pc:sldMasterMk cId="3859867780" sldId="2147483949"/>
            <ac:grpSpMk id="9" creationId="{D7717343-B08B-4A47-9C73-F732395B7761}"/>
          </ac:grpSpMkLst>
        </pc:grpChg>
        <pc:grpChg chg="add">
          <ac:chgData name="Brattås, Johan Ludvig" userId="07156f80-05ad-490f-8d18-32a2a8907af8" providerId="ADAL" clId="{B1516F74-8675-48F5-90B4-46CE281DC87A}" dt="2021-09-28T19:54:23.772" v="286"/>
          <ac:grpSpMkLst>
            <pc:docMk/>
            <pc:sldMasterMk cId="3859867780" sldId="2147483949"/>
            <ac:grpSpMk id="16" creationId="{BE255999-6800-41EB-B938-8C09401284F1}"/>
          </ac:grpSpMkLst>
        </pc:grpChg>
        <pc:grpChg chg="add">
          <ac:chgData name="Brattås, Johan Ludvig" userId="07156f80-05ad-490f-8d18-32a2a8907af8" providerId="ADAL" clId="{B1516F74-8675-48F5-90B4-46CE281DC87A}" dt="2021-09-28T19:54:23.772" v="286"/>
          <ac:grpSpMkLst>
            <pc:docMk/>
            <pc:sldMasterMk cId="3859867780" sldId="2147483949"/>
            <ac:grpSpMk id="22" creationId="{C369B189-67C1-4F4C-BBC1-AC33C56AF608}"/>
          </ac:grpSpMkLst>
        </pc:grpChg>
        <pc:sldLayoutChg chg="del">
          <pc:chgData name="Brattås, Johan Ludvig" userId="07156f80-05ad-490f-8d18-32a2a8907af8" providerId="ADAL" clId="{B1516F74-8675-48F5-90B4-46CE281DC87A}" dt="2021-09-29T20:35:49.242" v="3485" actId="47"/>
          <pc:sldLayoutMkLst>
            <pc:docMk/>
            <pc:sldMasterMk cId="3859867780" sldId="2147483949"/>
            <pc:sldLayoutMk cId="3769956643" sldId="2147483964"/>
          </pc:sldLayoutMkLst>
        </pc:sldLayoutChg>
      </pc:sldMaster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37.svg"/><Relationship Id="rId9" Type="http://schemas.openxmlformats.org/officeDocument/2006/relationships/image" Target="../media/image42.png"/></Relationships>
</file>

<file path=ppt/diagrams/_rels/drawing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37.svg"/><Relationship Id="rId9" Type="http://schemas.openxmlformats.org/officeDocument/2006/relationships/image" Target="../media/image42.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D7175-947A-4E33-BEA9-E6A1C4B5DD9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6EE6853-97DB-491A-853B-50F08D53922C}">
      <dgm:prSet/>
      <dgm:spPr/>
      <dgm:t>
        <a:bodyPr/>
        <a:lstStyle/>
        <a:p>
          <a:r>
            <a:rPr lang="nb-NO" dirty="0" err="1"/>
            <a:t>Title</a:t>
          </a:r>
          <a:r>
            <a:rPr lang="nb-NO" dirty="0"/>
            <a:t> </a:t>
          </a:r>
          <a:endParaRPr lang="en-US" dirty="0"/>
        </a:p>
      </dgm:t>
    </dgm:pt>
    <dgm:pt modelId="{497F6E1D-7E2D-4750-BDA3-6F8739D7F0AF}" type="parTrans" cxnId="{A0722674-8EA5-4495-8EE5-C10EF970BEAD}">
      <dgm:prSet/>
      <dgm:spPr/>
      <dgm:t>
        <a:bodyPr/>
        <a:lstStyle/>
        <a:p>
          <a:endParaRPr lang="en-US"/>
        </a:p>
      </dgm:t>
    </dgm:pt>
    <dgm:pt modelId="{3DAFAFD3-53CA-4EE8-A9BB-6AF077C99F39}" type="sibTrans" cxnId="{A0722674-8EA5-4495-8EE5-C10EF970BEAD}">
      <dgm:prSet/>
      <dgm:spPr/>
      <dgm:t>
        <a:bodyPr/>
        <a:lstStyle/>
        <a:p>
          <a:endParaRPr lang="en-US"/>
        </a:p>
      </dgm:t>
    </dgm:pt>
    <dgm:pt modelId="{DC3BEFF1-3C06-47F5-8B46-6247FF917539}">
      <dgm:prSet/>
      <dgm:spPr/>
      <dgm:t>
        <a:bodyPr/>
        <a:lstStyle/>
        <a:p>
          <a:r>
            <a:rPr lang="nb-NO" dirty="0" err="1"/>
            <a:t>Blurb</a:t>
          </a:r>
          <a:endParaRPr lang="en-US" dirty="0"/>
        </a:p>
      </dgm:t>
    </dgm:pt>
    <dgm:pt modelId="{CFB7EC8D-18C7-496E-A9F6-C195477D8F55}" type="parTrans" cxnId="{318460A8-11BE-4BE5-B7B1-65EB61B9037F}">
      <dgm:prSet/>
      <dgm:spPr/>
      <dgm:t>
        <a:bodyPr/>
        <a:lstStyle/>
        <a:p>
          <a:endParaRPr lang="en-US"/>
        </a:p>
      </dgm:t>
    </dgm:pt>
    <dgm:pt modelId="{FFDDA693-9AB5-49A4-8D0E-C0DCC54B631E}" type="sibTrans" cxnId="{318460A8-11BE-4BE5-B7B1-65EB61B9037F}">
      <dgm:prSet/>
      <dgm:spPr/>
      <dgm:t>
        <a:bodyPr/>
        <a:lstStyle/>
        <a:p>
          <a:endParaRPr lang="en-US"/>
        </a:p>
      </dgm:t>
    </dgm:pt>
    <dgm:pt modelId="{FBD048D2-5452-47AD-8BB1-F97077E590DD}">
      <dgm:prSet/>
      <dgm:spPr/>
      <dgm:t>
        <a:bodyPr/>
        <a:lstStyle/>
        <a:p>
          <a:r>
            <a:rPr lang="nb-NO"/>
            <a:t>Body</a:t>
          </a:r>
          <a:endParaRPr lang="en-US"/>
        </a:p>
      </dgm:t>
    </dgm:pt>
    <dgm:pt modelId="{2E7E0065-E72D-4027-BA74-9F131F81E68B}" type="parTrans" cxnId="{9308F228-007F-4033-B39E-FAE3C775BC55}">
      <dgm:prSet/>
      <dgm:spPr/>
      <dgm:t>
        <a:bodyPr/>
        <a:lstStyle/>
        <a:p>
          <a:endParaRPr lang="en-US"/>
        </a:p>
      </dgm:t>
    </dgm:pt>
    <dgm:pt modelId="{1CF4F98D-7CEC-41A8-8A07-96DE1E1242B8}" type="sibTrans" cxnId="{9308F228-007F-4033-B39E-FAE3C775BC55}">
      <dgm:prSet/>
      <dgm:spPr/>
      <dgm:t>
        <a:bodyPr/>
        <a:lstStyle/>
        <a:p>
          <a:endParaRPr lang="en-US"/>
        </a:p>
      </dgm:t>
    </dgm:pt>
    <dgm:pt modelId="{F2F52239-F023-4D50-AAF8-3ED2FBB043F3}">
      <dgm:prSet/>
      <dgm:spPr/>
      <dgm:t>
        <a:bodyPr/>
        <a:lstStyle/>
        <a:p>
          <a:r>
            <a:rPr lang="nb-NO" dirty="0"/>
            <a:t>Goals</a:t>
          </a:r>
          <a:endParaRPr lang="en-US" dirty="0"/>
        </a:p>
      </dgm:t>
    </dgm:pt>
    <dgm:pt modelId="{3D7B464D-AC41-4C52-81C1-784C20BC3C78}" type="parTrans" cxnId="{54FCEE9F-55BA-422F-8F79-D3343E9CFD97}">
      <dgm:prSet/>
      <dgm:spPr/>
      <dgm:t>
        <a:bodyPr/>
        <a:lstStyle/>
        <a:p>
          <a:endParaRPr lang="en-US"/>
        </a:p>
      </dgm:t>
    </dgm:pt>
    <dgm:pt modelId="{770F9ADA-556E-4D3F-B934-39D4FCBE38FD}" type="sibTrans" cxnId="{54FCEE9F-55BA-422F-8F79-D3343E9CFD97}">
      <dgm:prSet/>
      <dgm:spPr/>
      <dgm:t>
        <a:bodyPr/>
        <a:lstStyle/>
        <a:p>
          <a:endParaRPr lang="en-US"/>
        </a:p>
      </dgm:t>
    </dgm:pt>
    <dgm:pt modelId="{FD56647F-7C07-43CF-8178-464FE51B8CFB}">
      <dgm:prSet/>
      <dgm:spPr/>
      <dgm:t>
        <a:bodyPr/>
        <a:lstStyle/>
        <a:p>
          <a:r>
            <a:rPr lang="nb-NO" dirty="0" err="1"/>
            <a:t>Additional</a:t>
          </a:r>
          <a:r>
            <a:rPr lang="nb-NO" dirty="0"/>
            <a:t> </a:t>
          </a:r>
          <a:r>
            <a:rPr lang="nb-NO" dirty="0" err="1"/>
            <a:t>information</a:t>
          </a:r>
          <a:endParaRPr lang="en-US" dirty="0"/>
        </a:p>
      </dgm:t>
    </dgm:pt>
    <dgm:pt modelId="{45C82400-FE9B-47CD-A845-DBAFEB3BA933}" type="parTrans" cxnId="{497E364B-DFB9-4951-8648-C915B6C9AA71}">
      <dgm:prSet/>
      <dgm:spPr/>
      <dgm:t>
        <a:bodyPr/>
        <a:lstStyle/>
        <a:p>
          <a:endParaRPr lang="en-US"/>
        </a:p>
      </dgm:t>
    </dgm:pt>
    <dgm:pt modelId="{9E073096-0A92-403D-B867-1F040DBCC45A}" type="sibTrans" cxnId="{497E364B-DFB9-4951-8648-C915B6C9AA71}">
      <dgm:prSet/>
      <dgm:spPr/>
      <dgm:t>
        <a:bodyPr/>
        <a:lstStyle/>
        <a:p>
          <a:endParaRPr lang="en-US"/>
        </a:p>
      </dgm:t>
    </dgm:pt>
    <dgm:pt modelId="{37517C00-F0A1-4C11-88E5-EB341FCDC188}" type="pres">
      <dgm:prSet presAssocID="{3C0D7175-947A-4E33-BEA9-E6A1C4B5DD94}" presName="root" presStyleCnt="0">
        <dgm:presLayoutVars>
          <dgm:dir/>
          <dgm:resizeHandles val="exact"/>
        </dgm:presLayoutVars>
      </dgm:prSet>
      <dgm:spPr/>
    </dgm:pt>
    <dgm:pt modelId="{18DEDD64-36F1-4BEC-B338-54F7E629B7A5}" type="pres">
      <dgm:prSet presAssocID="{D6EE6853-97DB-491A-853B-50F08D53922C}" presName="compNode" presStyleCnt="0"/>
      <dgm:spPr/>
    </dgm:pt>
    <dgm:pt modelId="{2D3EA8E6-3A1D-4D46-B034-C933035844F2}" type="pres">
      <dgm:prSet presAssocID="{D6EE6853-97DB-491A-853B-50F08D53922C}" presName="bgRect" presStyleLbl="bgShp" presStyleIdx="0" presStyleCnt="5"/>
      <dgm:spPr/>
    </dgm:pt>
    <dgm:pt modelId="{6F3200E8-9B72-4A00-9FEB-14FAD4EFCD84}" type="pres">
      <dgm:prSet presAssocID="{D6EE6853-97DB-491A-853B-50F08D53922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ubtitles"/>
        </a:ext>
      </dgm:extLst>
    </dgm:pt>
    <dgm:pt modelId="{47C9A591-4967-4C54-BFED-7FFB2B0DD25B}" type="pres">
      <dgm:prSet presAssocID="{D6EE6853-97DB-491A-853B-50F08D53922C}" presName="spaceRect" presStyleCnt="0"/>
      <dgm:spPr/>
    </dgm:pt>
    <dgm:pt modelId="{A99074E8-C968-46C9-84ED-146DF3DA6590}" type="pres">
      <dgm:prSet presAssocID="{D6EE6853-97DB-491A-853B-50F08D53922C}" presName="parTx" presStyleLbl="revTx" presStyleIdx="0" presStyleCnt="5">
        <dgm:presLayoutVars>
          <dgm:chMax val="0"/>
          <dgm:chPref val="0"/>
        </dgm:presLayoutVars>
      </dgm:prSet>
      <dgm:spPr/>
    </dgm:pt>
    <dgm:pt modelId="{3A53ABCD-C929-4197-BF87-70EA067FC483}" type="pres">
      <dgm:prSet presAssocID="{3DAFAFD3-53CA-4EE8-A9BB-6AF077C99F39}" presName="sibTrans" presStyleCnt="0"/>
      <dgm:spPr/>
    </dgm:pt>
    <dgm:pt modelId="{2D52D32E-BDAA-4E25-BAE9-C87EFB9C1BB2}" type="pres">
      <dgm:prSet presAssocID="{DC3BEFF1-3C06-47F5-8B46-6247FF917539}" presName="compNode" presStyleCnt="0"/>
      <dgm:spPr/>
    </dgm:pt>
    <dgm:pt modelId="{F7103805-3561-4AC0-9C58-31CE51001D8A}" type="pres">
      <dgm:prSet presAssocID="{DC3BEFF1-3C06-47F5-8B46-6247FF917539}" presName="bgRect" presStyleLbl="bgShp" presStyleIdx="1" presStyleCnt="5"/>
      <dgm:spPr/>
    </dgm:pt>
    <dgm:pt modelId="{52B78F5E-D5DA-4423-A2AF-91C43CB9FD9F}" type="pres">
      <dgm:prSet presAssocID="{DC3BEFF1-3C06-47F5-8B46-6247FF917539}" presName="iconRect" presStyleLbl="node1" presStyleIdx="1" presStyleCnt="5" custScaleX="9571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000" r="-2000"/>
          </a:stretch>
        </a:blipFill>
        <a:ln>
          <a:noFill/>
        </a:ln>
      </dgm:spPr>
      <dgm:extLst>
        <a:ext uri="{E40237B7-FDA0-4F09-8148-C483321AD2D9}">
          <dgm14:cNvPr xmlns:dgm14="http://schemas.microsoft.com/office/drawing/2010/diagram" id="0" name="" descr="Voice with solid fill"/>
        </a:ext>
      </dgm:extLst>
    </dgm:pt>
    <dgm:pt modelId="{7A643CDF-460E-449F-A68F-4A4761C9582F}" type="pres">
      <dgm:prSet presAssocID="{DC3BEFF1-3C06-47F5-8B46-6247FF917539}" presName="spaceRect" presStyleCnt="0"/>
      <dgm:spPr/>
    </dgm:pt>
    <dgm:pt modelId="{A1D0C8F6-A74F-4389-AEDE-2B484CD4E41F}" type="pres">
      <dgm:prSet presAssocID="{DC3BEFF1-3C06-47F5-8B46-6247FF917539}" presName="parTx" presStyleLbl="revTx" presStyleIdx="1" presStyleCnt="5">
        <dgm:presLayoutVars>
          <dgm:chMax val="0"/>
          <dgm:chPref val="0"/>
        </dgm:presLayoutVars>
      </dgm:prSet>
      <dgm:spPr/>
    </dgm:pt>
    <dgm:pt modelId="{39710901-B5EB-478A-BFA2-662D2F83FE9A}" type="pres">
      <dgm:prSet presAssocID="{FFDDA693-9AB5-49A4-8D0E-C0DCC54B631E}" presName="sibTrans" presStyleCnt="0"/>
      <dgm:spPr/>
    </dgm:pt>
    <dgm:pt modelId="{8E5F9A04-3308-4E6D-AF40-651FD9520DB8}" type="pres">
      <dgm:prSet presAssocID="{FBD048D2-5452-47AD-8BB1-F97077E590DD}" presName="compNode" presStyleCnt="0"/>
      <dgm:spPr/>
    </dgm:pt>
    <dgm:pt modelId="{69BA0EAD-0EE5-48AF-BA8C-BD3553437E0F}" type="pres">
      <dgm:prSet presAssocID="{FBD048D2-5452-47AD-8BB1-F97077E590DD}" presName="bgRect" presStyleLbl="bgShp" presStyleIdx="2" presStyleCnt="5"/>
      <dgm:spPr/>
    </dgm:pt>
    <dgm:pt modelId="{AC9CACE4-7C8E-4539-9024-016FD7CB52CE}" type="pres">
      <dgm:prSet presAssocID="{FBD048D2-5452-47AD-8BB1-F97077E590DD}"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ody Builder"/>
        </a:ext>
      </dgm:extLst>
    </dgm:pt>
    <dgm:pt modelId="{0D4197F3-6348-4ECF-9AB2-C50A2D446A41}" type="pres">
      <dgm:prSet presAssocID="{FBD048D2-5452-47AD-8BB1-F97077E590DD}" presName="spaceRect" presStyleCnt="0"/>
      <dgm:spPr/>
    </dgm:pt>
    <dgm:pt modelId="{84310EAE-E818-47AA-9C07-878331AC7201}" type="pres">
      <dgm:prSet presAssocID="{FBD048D2-5452-47AD-8BB1-F97077E590DD}" presName="parTx" presStyleLbl="revTx" presStyleIdx="2" presStyleCnt="5">
        <dgm:presLayoutVars>
          <dgm:chMax val="0"/>
          <dgm:chPref val="0"/>
        </dgm:presLayoutVars>
      </dgm:prSet>
      <dgm:spPr/>
    </dgm:pt>
    <dgm:pt modelId="{D014D4D9-5E15-4B57-8F4A-EE911B3CE961}" type="pres">
      <dgm:prSet presAssocID="{1CF4F98D-7CEC-41A8-8A07-96DE1E1242B8}" presName="sibTrans" presStyleCnt="0"/>
      <dgm:spPr/>
    </dgm:pt>
    <dgm:pt modelId="{8851FEF9-683E-42F4-9D1A-74322BF8FCEF}" type="pres">
      <dgm:prSet presAssocID="{F2F52239-F023-4D50-AAF8-3ED2FBB043F3}" presName="compNode" presStyleCnt="0"/>
      <dgm:spPr/>
    </dgm:pt>
    <dgm:pt modelId="{E9C731CD-BEB0-4E09-B7DB-BAD018B9D669}" type="pres">
      <dgm:prSet presAssocID="{F2F52239-F023-4D50-AAF8-3ED2FBB043F3}" presName="bgRect" presStyleLbl="bgShp" presStyleIdx="3" presStyleCnt="5"/>
      <dgm:spPr/>
    </dgm:pt>
    <dgm:pt modelId="{F128FFC4-36CB-4D62-8562-93C0CCD63570}" type="pres">
      <dgm:prSet presAssocID="{F2F52239-F023-4D50-AAF8-3ED2FBB043F3}"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 List"/>
        </a:ext>
      </dgm:extLst>
    </dgm:pt>
    <dgm:pt modelId="{8F7C08CD-DB98-4B66-AEF8-28CC75E4241C}" type="pres">
      <dgm:prSet presAssocID="{F2F52239-F023-4D50-AAF8-3ED2FBB043F3}" presName="spaceRect" presStyleCnt="0"/>
      <dgm:spPr/>
    </dgm:pt>
    <dgm:pt modelId="{C32FBFE1-BAD0-4D50-B155-D730E5F9D9E2}" type="pres">
      <dgm:prSet presAssocID="{F2F52239-F023-4D50-AAF8-3ED2FBB043F3}" presName="parTx" presStyleLbl="revTx" presStyleIdx="3" presStyleCnt="5">
        <dgm:presLayoutVars>
          <dgm:chMax val="0"/>
          <dgm:chPref val="0"/>
        </dgm:presLayoutVars>
      </dgm:prSet>
      <dgm:spPr/>
    </dgm:pt>
    <dgm:pt modelId="{0A69552B-5DEC-4359-888F-D055C1B87091}" type="pres">
      <dgm:prSet presAssocID="{770F9ADA-556E-4D3F-B934-39D4FCBE38FD}" presName="sibTrans" presStyleCnt="0"/>
      <dgm:spPr/>
    </dgm:pt>
    <dgm:pt modelId="{A945DF94-FED7-4B3E-A696-1F6DFCE58F38}" type="pres">
      <dgm:prSet presAssocID="{FD56647F-7C07-43CF-8178-464FE51B8CFB}" presName="compNode" presStyleCnt="0"/>
      <dgm:spPr/>
    </dgm:pt>
    <dgm:pt modelId="{E626AB59-7956-40DC-AA5A-257A94BBD7A5}" type="pres">
      <dgm:prSet presAssocID="{FD56647F-7C07-43CF-8178-464FE51B8CFB}" presName="bgRect" presStyleLbl="bgShp" presStyleIdx="4" presStyleCnt="5"/>
      <dgm:spPr/>
    </dgm:pt>
    <dgm:pt modelId="{12FA0B38-7004-4E05-9F2F-3AB0877C998E}" type="pres">
      <dgm:prSet presAssocID="{FD56647F-7C07-43CF-8178-464FE51B8CFB}"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Information"/>
        </a:ext>
      </dgm:extLst>
    </dgm:pt>
    <dgm:pt modelId="{67715E82-16B1-467A-A227-D3AF15DFE482}" type="pres">
      <dgm:prSet presAssocID="{FD56647F-7C07-43CF-8178-464FE51B8CFB}" presName="spaceRect" presStyleCnt="0"/>
      <dgm:spPr/>
    </dgm:pt>
    <dgm:pt modelId="{BF78DB7D-C6B8-4FB5-B4FB-C25D6D11AA4B}" type="pres">
      <dgm:prSet presAssocID="{FD56647F-7C07-43CF-8178-464FE51B8CFB}" presName="parTx" presStyleLbl="revTx" presStyleIdx="4" presStyleCnt="5">
        <dgm:presLayoutVars>
          <dgm:chMax val="0"/>
          <dgm:chPref val="0"/>
        </dgm:presLayoutVars>
      </dgm:prSet>
      <dgm:spPr/>
    </dgm:pt>
  </dgm:ptLst>
  <dgm:cxnLst>
    <dgm:cxn modelId="{DB77560B-649E-4E73-BE0B-234BF8C39BED}" type="presOf" srcId="{F2F52239-F023-4D50-AAF8-3ED2FBB043F3}" destId="{C32FBFE1-BAD0-4D50-B155-D730E5F9D9E2}" srcOrd="0" destOrd="0" presId="urn:microsoft.com/office/officeart/2018/2/layout/IconVerticalSolidList"/>
    <dgm:cxn modelId="{9308F228-007F-4033-B39E-FAE3C775BC55}" srcId="{3C0D7175-947A-4E33-BEA9-E6A1C4B5DD94}" destId="{FBD048D2-5452-47AD-8BB1-F97077E590DD}" srcOrd="2" destOrd="0" parTransId="{2E7E0065-E72D-4027-BA74-9F131F81E68B}" sibTransId="{1CF4F98D-7CEC-41A8-8A07-96DE1E1242B8}"/>
    <dgm:cxn modelId="{AEC54341-21B4-4CCC-954A-F95F1DC9E060}" type="presOf" srcId="{D6EE6853-97DB-491A-853B-50F08D53922C}" destId="{A99074E8-C968-46C9-84ED-146DF3DA6590}" srcOrd="0" destOrd="0" presId="urn:microsoft.com/office/officeart/2018/2/layout/IconVerticalSolidList"/>
    <dgm:cxn modelId="{497E364B-DFB9-4951-8648-C915B6C9AA71}" srcId="{3C0D7175-947A-4E33-BEA9-E6A1C4B5DD94}" destId="{FD56647F-7C07-43CF-8178-464FE51B8CFB}" srcOrd="4" destOrd="0" parTransId="{45C82400-FE9B-47CD-A845-DBAFEB3BA933}" sibTransId="{9E073096-0A92-403D-B867-1F040DBCC45A}"/>
    <dgm:cxn modelId="{A0722674-8EA5-4495-8EE5-C10EF970BEAD}" srcId="{3C0D7175-947A-4E33-BEA9-E6A1C4B5DD94}" destId="{D6EE6853-97DB-491A-853B-50F08D53922C}" srcOrd="0" destOrd="0" parTransId="{497F6E1D-7E2D-4750-BDA3-6F8739D7F0AF}" sibTransId="{3DAFAFD3-53CA-4EE8-A9BB-6AF077C99F39}"/>
    <dgm:cxn modelId="{33F6C177-D028-4EDB-8316-03AC4C47C66E}" type="presOf" srcId="{3C0D7175-947A-4E33-BEA9-E6A1C4B5DD94}" destId="{37517C00-F0A1-4C11-88E5-EB341FCDC188}" srcOrd="0" destOrd="0" presId="urn:microsoft.com/office/officeart/2018/2/layout/IconVerticalSolidList"/>
    <dgm:cxn modelId="{93B51183-97AA-475A-A55E-83735FA42105}" type="presOf" srcId="{FBD048D2-5452-47AD-8BB1-F97077E590DD}" destId="{84310EAE-E818-47AA-9C07-878331AC7201}" srcOrd="0" destOrd="0" presId="urn:microsoft.com/office/officeart/2018/2/layout/IconVerticalSolidList"/>
    <dgm:cxn modelId="{54FCEE9F-55BA-422F-8F79-D3343E9CFD97}" srcId="{3C0D7175-947A-4E33-BEA9-E6A1C4B5DD94}" destId="{F2F52239-F023-4D50-AAF8-3ED2FBB043F3}" srcOrd="3" destOrd="0" parTransId="{3D7B464D-AC41-4C52-81C1-784C20BC3C78}" sibTransId="{770F9ADA-556E-4D3F-B934-39D4FCBE38FD}"/>
    <dgm:cxn modelId="{318460A8-11BE-4BE5-B7B1-65EB61B9037F}" srcId="{3C0D7175-947A-4E33-BEA9-E6A1C4B5DD94}" destId="{DC3BEFF1-3C06-47F5-8B46-6247FF917539}" srcOrd="1" destOrd="0" parTransId="{CFB7EC8D-18C7-496E-A9F6-C195477D8F55}" sibTransId="{FFDDA693-9AB5-49A4-8D0E-C0DCC54B631E}"/>
    <dgm:cxn modelId="{CC8278CD-EFD8-4EC9-9BAF-947F70D52FDA}" type="presOf" srcId="{FD56647F-7C07-43CF-8178-464FE51B8CFB}" destId="{BF78DB7D-C6B8-4FB5-B4FB-C25D6D11AA4B}" srcOrd="0" destOrd="0" presId="urn:microsoft.com/office/officeart/2018/2/layout/IconVerticalSolidList"/>
    <dgm:cxn modelId="{5E5704DA-A69B-4124-93EE-9A0F92E5F008}" type="presOf" srcId="{DC3BEFF1-3C06-47F5-8B46-6247FF917539}" destId="{A1D0C8F6-A74F-4389-AEDE-2B484CD4E41F}" srcOrd="0" destOrd="0" presId="urn:microsoft.com/office/officeart/2018/2/layout/IconVerticalSolidList"/>
    <dgm:cxn modelId="{C4191E4F-B8E1-4BB3-93AF-734A38983452}" type="presParOf" srcId="{37517C00-F0A1-4C11-88E5-EB341FCDC188}" destId="{18DEDD64-36F1-4BEC-B338-54F7E629B7A5}" srcOrd="0" destOrd="0" presId="urn:microsoft.com/office/officeart/2018/2/layout/IconVerticalSolidList"/>
    <dgm:cxn modelId="{3C78808B-FC99-47C2-B91B-BE8681B7ECC2}" type="presParOf" srcId="{18DEDD64-36F1-4BEC-B338-54F7E629B7A5}" destId="{2D3EA8E6-3A1D-4D46-B034-C933035844F2}" srcOrd="0" destOrd="0" presId="urn:microsoft.com/office/officeart/2018/2/layout/IconVerticalSolidList"/>
    <dgm:cxn modelId="{281C2334-C30E-4CEC-A25E-77BAB9CF63FA}" type="presParOf" srcId="{18DEDD64-36F1-4BEC-B338-54F7E629B7A5}" destId="{6F3200E8-9B72-4A00-9FEB-14FAD4EFCD84}" srcOrd="1" destOrd="0" presId="urn:microsoft.com/office/officeart/2018/2/layout/IconVerticalSolidList"/>
    <dgm:cxn modelId="{E924E3E2-B340-4088-9A09-8EA43E8F5004}" type="presParOf" srcId="{18DEDD64-36F1-4BEC-B338-54F7E629B7A5}" destId="{47C9A591-4967-4C54-BFED-7FFB2B0DD25B}" srcOrd="2" destOrd="0" presId="urn:microsoft.com/office/officeart/2018/2/layout/IconVerticalSolidList"/>
    <dgm:cxn modelId="{AB9731EF-DF50-402F-A549-463BA21B01CD}" type="presParOf" srcId="{18DEDD64-36F1-4BEC-B338-54F7E629B7A5}" destId="{A99074E8-C968-46C9-84ED-146DF3DA6590}" srcOrd="3" destOrd="0" presId="urn:microsoft.com/office/officeart/2018/2/layout/IconVerticalSolidList"/>
    <dgm:cxn modelId="{B760B38D-6895-4A1A-8994-4F28A51C6718}" type="presParOf" srcId="{37517C00-F0A1-4C11-88E5-EB341FCDC188}" destId="{3A53ABCD-C929-4197-BF87-70EA067FC483}" srcOrd="1" destOrd="0" presId="urn:microsoft.com/office/officeart/2018/2/layout/IconVerticalSolidList"/>
    <dgm:cxn modelId="{A7626008-8261-4280-9627-F4172E4F9034}" type="presParOf" srcId="{37517C00-F0A1-4C11-88E5-EB341FCDC188}" destId="{2D52D32E-BDAA-4E25-BAE9-C87EFB9C1BB2}" srcOrd="2" destOrd="0" presId="urn:microsoft.com/office/officeart/2018/2/layout/IconVerticalSolidList"/>
    <dgm:cxn modelId="{B668E39A-6717-4652-8A18-6A67824CBBEA}" type="presParOf" srcId="{2D52D32E-BDAA-4E25-BAE9-C87EFB9C1BB2}" destId="{F7103805-3561-4AC0-9C58-31CE51001D8A}" srcOrd="0" destOrd="0" presId="urn:microsoft.com/office/officeart/2018/2/layout/IconVerticalSolidList"/>
    <dgm:cxn modelId="{80BD8949-2512-4916-A945-E35BDA2480CB}" type="presParOf" srcId="{2D52D32E-BDAA-4E25-BAE9-C87EFB9C1BB2}" destId="{52B78F5E-D5DA-4423-A2AF-91C43CB9FD9F}" srcOrd="1" destOrd="0" presId="urn:microsoft.com/office/officeart/2018/2/layout/IconVerticalSolidList"/>
    <dgm:cxn modelId="{7A70AAD2-5B6E-452C-AF5D-00DE571C0458}" type="presParOf" srcId="{2D52D32E-BDAA-4E25-BAE9-C87EFB9C1BB2}" destId="{7A643CDF-460E-449F-A68F-4A4761C9582F}" srcOrd="2" destOrd="0" presId="urn:microsoft.com/office/officeart/2018/2/layout/IconVerticalSolidList"/>
    <dgm:cxn modelId="{78249CA4-37A3-478F-9EE5-CC556E4C2202}" type="presParOf" srcId="{2D52D32E-BDAA-4E25-BAE9-C87EFB9C1BB2}" destId="{A1D0C8F6-A74F-4389-AEDE-2B484CD4E41F}" srcOrd="3" destOrd="0" presId="urn:microsoft.com/office/officeart/2018/2/layout/IconVerticalSolidList"/>
    <dgm:cxn modelId="{08AF73CC-730E-4D35-B3B5-02309B97AFF4}" type="presParOf" srcId="{37517C00-F0A1-4C11-88E5-EB341FCDC188}" destId="{39710901-B5EB-478A-BFA2-662D2F83FE9A}" srcOrd="3" destOrd="0" presId="urn:microsoft.com/office/officeart/2018/2/layout/IconVerticalSolidList"/>
    <dgm:cxn modelId="{E06096A1-1E05-4011-9F28-BD6242151DE5}" type="presParOf" srcId="{37517C00-F0A1-4C11-88E5-EB341FCDC188}" destId="{8E5F9A04-3308-4E6D-AF40-651FD9520DB8}" srcOrd="4" destOrd="0" presId="urn:microsoft.com/office/officeart/2018/2/layout/IconVerticalSolidList"/>
    <dgm:cxn modelId="{C63D0B1E-E479-4E65-B9A8-2A5B9A2525BD}" type="presParOf" srcId="{8E5F9A04-3308-4E6D-AF40-651FD9520DB8}" destId="{69BA0EAD-0EE5-48AF-BA8C-BD3553437E0F}" srcOrd="0" destOrd="0" presId="urn:microsoft.com/office/officeart/2018/2/layout/IconVerticalSolidList"/>
    <dgm:cxn modelId="{05D840FA-4916-499D-9869-305121CFAF78}" type="presParOf" srcId="{8E5F9A04-3308-4E6D-AF40-651FD9520DB8}" destId="{AC9CACE4-7C8E-4539-9024-016FD7CB52CE}" srcOrd="1" destOrd="0" presId="urn:microsoft.com/office/officeart/2018/2/layout/IconVerticalSolidList"/>
    <dgm:cxn modelId="{7F44578F-52C7-40E1-A280-FB553373D9B0}" type="presParOf" srcId="{8E5F9A04-3308-4E6D-AF40-651FD9520DB8}" destId="{0D4197F3-6348-4ECF-9AB2-C50A2D446A41}" srcOrd="2" destOrd="0" presId="urn:microsoft.com/office/officeart/2018/2/layout/IconVerticalSolidList"/>
    <dgm:cxn modelId="{E9031E20-0CCD-4373-9724-7C449800940E}" type="presParOf" srcId="{8E5F9A04-3308-4E6D-AF40-651FD9520DB8}" destId="{84310EAE-E818-47AA-9C07-878331AC7201}" srcOrd="3" destOrd="0" presId="urn:microsoft.com/office/officeart/2018/2/layout/IconVerticalSolidList"/>
    <dgm:cxn modelId="{152231EA-7E64-49EC-91A5-1561E90A8DC8}" type="presParOf" srcId="{37517C00-F0A1-4C11-88E5-EB341FCDC188}" destId="{D014D4D9-5E15-4B57-8F4A-EE911B3CE961}" srcOrd="5" destOrd="0" presId="urn:microsoft.com/office/officeart/2018/2/layout/IconVerticalSolidList"/>
    <dgm:cxn modelId="{28148A15-ED14-4ED0-A7DC-2EA3A446CF99}" type="presParOf" srcId="{37517C00-F0A1-4C11-88E5-EB341FCDC188}" destId="{8851FEF9-683E-42F4-9D1A-74322BF8FCEF}" srcOrd="6" destOrd="0" presId="urn:microsoft.com/office/officeart/2018/2/layout/IconVerticalSolidList"/>
    <dgm:cxn modelId="{88A68D72-3FA4-4DD5-9025-D6E8E1044ABC}" type="presParOf" srcId="{8851FEF9-683E-42F4-9D1A-74322BF8FCEF}" destId="{E9C731CD-BEB0-4E09-B7DB-BAD018B9D669}" srcOrd="0" destOrd="0" presId="urn:microsoft.com/office/officeart/2018/2/layout/IconVerticalSolidList"/>
    <dgm:cxn modelId="{8D6F1064-8373-47ED-AF81-BDAA917BB76A}" type="presParOf" srcId="{8851FEF9-683E-42F4-9D1A-74322BF8FCEF}" destId="{F128FFC4-36CB-4D62-8562-93C0CCD63570}" srcOrd="1" destOrd="0" presId="urn:microsoft.com/office/officeart/2018/2/layout/IconVerticalSolidList"/>
    <dgm:cxn modelId="{E24C845E-4669-47E9-878C-BBD7800987D8}" type="presParOf" srcId="{8851FEF9-683E-42F4-9D1A-74322BF8FCEF}" destId="{8F7C08CD-DB98-4B66-AEF8-28CC75E4241C}" srcOrd="2" destOrd="0" presId="urn:microsoft.com/office/officeart/2018/2/layout/IconVerticalSolidList"/>
    <dgm:cxn modelId="{D3BCB397-1B65-455B-AEBE-8720BC86D9EA}" type="presParOf" srcId="{8851FEF9-683E-42F4-9D1A-74322BF8FCEF}" destId="{C32FBFE1-BAD0-4D50-B155-D730E5F9D9E2}" srcOrd="3" destOrd="0" presId="urn:microsoft.com/office/officeart/2018/2/layout/IconVerticalSolidList"/>
    <dgm:cxn modelId="{8268696D-FB7C-4CEF-99C2-2FBAA9DBF149}" type="presParOf" srcId="{37517C00-F0A1-4C11-88E5-EB341FCDC188}" destId="{0A69552B-5DEC-4359-888F-D055C1B87091}" srcOrd="7" destOrd="0" presId="urn:microsoft.com/office/officeart/2018/2/layout/IconVerticalSolidList"/>
    <dgm:cxn modelId="{F2EFA5BF-CF88-41F8-9FDD-C63C0E3F8DCD}" type="presParOf" srcId="{37517C00-F0A1-4C11-88E5-EB341FCDC188}" destId="{A945DF94-FED7-4B3E-A696-1F6DFCE58F38}" srcOrd="8" destOrd="0" presId="urn:microsoft.com/office/officeart/2018/2/layout/IconVerticalSolidList"/>
    <dgm:cxn modelId="{0A9B750C-6BE5-4CC3-8154-B3698292C5AE}" type="presParOf" srcId="{A945DF94-FED7-4B3E-A696-1F6DFCE58F38}" destId="{E626AB59-7956-40DC-AA5A-257A94BBD7A5}" srcOrd="0" destOrd="0" presId="urn:microsoft.com/office/officeart/2018/2/layout/IconVerticalSolidList"/>
    <dgm:cxn modelId="{6C215C30-8363-4629-93BE-04C33C4ABE4F}" type="presParOf" srcId="{A945DF94-FED7-4B3E-A696-1F6DFCE58F38}" destId="{12FA0B38-7004-4E05-9F2F-3AB0877C998E}" srcOrd="1" destOrd="0" presId="urn:microsoft.com/office/officeart/2018/2/layout/IconVerticalSolidList"/>
    <dgm:cxn modelId="{8DF042F3-218E-46C4-BBD4-567C38E35195}" type="presParOf" srcId="{A945DF94-FED7-4B3E-A696-1F6DFCE58F38}" destId="{67715E82-16B1-467A-A227-D3AF15DFE482}" srcOrd="2" destOrd="0" presId="urn:microsoft.com/office/officeart/2018/2/layout/IconVerticalSolidList"/>
    <dgm:cxn modelId="{5383FFDA-87B2-4EB8-8DE3-613991C02DF1}" type="presParOf" srcId="{A945DF94-FED7-4B3E-A696-1F6DFCE58F38}" destId="{BF78DB7D-C6B8-4FB5-B4FB-C25D6D11AA4B}"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3EA8E6-3A1D-4D46-B034-C933035844F2}">
      <dsp:nvSpPr>
        <dsp:cNvPr id="0" name=""/>
        <dsp:cNvSpPr/>
      </dsp:nvSpPr>
      <dsp:spPr>
        <a:xfrm>
          <a:off x="0" y="4164"/>
          <a:ext cx="7104549" cy="88710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F3200E8-9B72-4A00-9FEB-14FAD4EFCD84}">
      <dsp:nvSpPr>
        <dsp:cNvPr id="0" name=""/>
        <dsp:cNvSpPr/>
      </dsp:nvSpPr>
      <dsp:spPr>
        <a:xfrm>
          <a:off x="268348" y="203763"/>
          <a:ext cx="487907" cy="48790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99074E8-C968-46C9-84ED-146DF3DA6590}">
      <dsp:nvSpPr>
        <dsp:cNvPr id="0" name=""/>
        <dsp:cNvSpPr/>
      </dsp:nvSpPr>
      <dsp:spPr>
        <a:xfrm>
          <a:off x="1024604" y="4164"/>
          <a:ext cx="6079944" cy="8871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3885" tIns="93885" rIns="93885" bIns="93885" numCol="1" spcCol="1270" anchor="ctr" anchorCtr="0">
          <a:noAutofit/>
        </a:bodyPr>
        <a:lstStyle/>
        <a:p>
          <a:pPr marL="0" lvl="0" indent="0" algn="l" defTabSz="844550">
            <a:lnSpc>
              <a:spcPct val="90000"/>
            </a:lnSpc>
            <a:spcBef>
              <a:spcPct val="0"/>
            </a:spcBef>
            <a:spcAft>
              <a:spcPct val="35000"/>
            </a:spcAft>
            <a:buNone/>
          </a:pPr>
          <a:r>
            <a:rPr lang="nb-NO" sz="1900" kern="1200" dirty="0" err="1"/>
            <a:t>Title</a:t>
          </a:r>
          <a:r>
            <a:rPr lang="nb-NO" sz="1900" kern="1200" dirty="0"/>
            <a:t> </a:t>
          </a:r>
          <a:endParaRPr lang="en-US" sz="1900" kern="1200" dirty="0"/>
        </a:p>
      </dsp:txBody>
      <dsp:txXfrm>
        <a:off x="1024604" y="4164"/>
        <a:ext cx="6079944" cy="887103"/>
      </dsp:txXfrm>
    </dsp:sp>
    <dsp:sp modelId="{F7103805-3561-4AC0-9C58-31CE51001D8A}">
      <dsp:nvSpPr>
        <dsp:cNvPr id="0" name=""/>
        <dsp:cNvSpPr/>
      </dsp:nvSpPr>
      <dsp:spPr>
        <a:xfrm>
          <a:off x="0" y="1113044"/>
          <a:ext cx="7104549" cy="88710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2B78F5E-D5DA-4423-A2AF-91C43CB9FD9F}">
      <dsp:nvSpPr>
        <dsp:cNvPr id="0" name=""/>
        <dsp:cNvSpPr/>
      </dsp:nvSpPr>
      <dsp:spPr>
        <a:xfrm>
          <a:off x="278802" y="1312642"/>
          <a:ext cx="467000" cy="48790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000" r="-2000"/>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1D0C8F6-A74F-4389-AEDE-2B484CD4E41F}">
      <dsp:nvSpPr>
        <dsp:cNvPr id="0" name=""/>
        <dsp:cNvSpPr/>
      </dsp:nvSpPr>
      <dsp:spPr>
        <a:xfrm>
          <a:off x="1024604" y="1113044"/>
          <a:ext cx="6079944" cy="8871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3885" tIns="93885" rIns="93885" bIns="93885" numCol="1" spcCol="1270" anchor="ctr" anchorCtr="0">
          <a:noAutofit/>
        </a:bodyPr>
        <a:lstStyle/>
        <a:p>
          <a:pPr marL="0" lvl="0" indent="0" algn="l" defTabSz="844550">
            <a:lnSpc>
              <a:spcPct val="90000"/>
            </a:lnSpc>
            <a:spcBef>
              <a:spcPct val="0"/>
            </a:spcBef>
            <a:spcAft>
              <a:spcPct val="35000"/>
            </a:spcAft>
            <a:buNone/>
          </a:pPr>
          <a:r>
            <a:rPr lang="nb-NO" sz="1900" kern="1200" dirty="0" err="1"/>
            <a:t>Blurb</a:t>
          </a:r>
          <a:endParaRPr lang="en-US" sz="1900" kern="1200" dirty="0"/>
        </a:p>
      </dsp:txBody>
      <dsp:txXfrm>
        <a:off x="1024604" y="1113044"/>
        <a:ext cx="6079944" cy="887103"/>
      </dsp:txXfrm>
    </dsp:sp>
    <dsp:sp modelId="{69BA0EAD-0EE5-48AF-BA8C-BD3553437E0F}">
      <dsp:nvSpPr>
        <dsp:cNvPr id="0" name=""/>
        <dsp:cNvSpPr/>
      </dsp:nvSpPr>
      <dsp:spPr>
        <a:xfrm>
          <a:off x="0" y="2221924"/>
          <a:ext cx="7104549" cy="88710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9CACE4-7C8E-4539-9024-016FD7CB52CE}">
      <dsp:nvSpPr>
        <dsp:cNvPr id="0" name=""/>
        <dsp:cNvSpPr/>
      </dsp:nvSpPr>
      <dsp:spPr>
        <a:xfrm>
          <a:off x="268348" y="2421522"/>
          <a:ext cx="487907" cy="48790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4310EAE-E818-47AA-9C07-878331AC7201}">
      <dsp:nvSpPr>
        <dsp:cNvPr id="0" name=""/>
        <dsp:cNvSpPr/>
      </dsp:nvSpPr>
      <dsp:spPr>
        <a:xfrm>
          <a:off x="1024604" y="2221924"/>
          <a:ext cx="6079944" cy="8871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3885" tIns="93885" rIns="93885" bIns="93885" numCol="1" spcCol="1270" anchor="ctr" anchorCtr="0">
          <a:noAutofit/>
        </a:bodyPr>
        <a:lstStyle/>
        <a:p>
          <a:pPr marL="0" lvl="0" indent="0" algn="l" defTabSz="844550">
            <a:lnSpc>
              <a:spcPct val="90000"/>
            </a:lnSpc>
            <a:spcBef>
              <a:spcPct val="0"/>
            </a:spcBef>
            <a:spcAft>
              <a:spcPct val="35000"/>
            </a:spcAft>
            <a:buNone/>
          </a:pPr>
          <a:r>
            <a:rPr lang="nb-NO" sz="1900" kern="1200"/>
            <a:t>Body</a:t>
          </a:r>
          <a:endParaRPr lang="en-US" sz="1900" kern="1200"/>
        </a:p>
      </dsp:txBody>
      <dsp:txXfrm>
        <a:off x="1024604" y="2221924"/>
        <a:ext cx="6079944" cy="887103"/>
      </dsp:txXfrm>
    </dsp:sp>
    <dsp:sp modelId="{E9C731CD-BEB0-4E09-B7DB-BAD018B9D669}">
      <dsp:nvSpPr>
        <dsp:cNvPr id="0" name=""/>
        <dsp:cNvSpPr/>
      </dsp:nvSpPr>
      <dsp:spPr>
        <a:xfrm>
          <a:off x="0" y="3330803"/>
          <a:ext cx="7104549" cy="88710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28FFC4-36CB-4D62-8562-93C0CCD63570}">
      <dsp:nvSpPr>
        <dsp:cNvPr id="0" name=""/>
        <dsp:cNvSpPr/>
      </dsp:nvSpPr>
      <dsp:spPr>
        <a:xfrm>
          <a:off x="268348" y="3530402"/>
          <a:ext cx="487907" cy="48790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32FBFE1-BAD0-4D50-B155-D730E5F9D9E2}">
      <dsp:nvSpPr>
        <dsp:cNvPr id="0" name=""/>
        <dsp:cNvSpPr/>
      </dsp:nvSpPr>
      <dsp:spPr>
        <a:xfrm>
          <a:off x="1024604" y="3330803"/>
          <a:ext cx="6079944" cy="8871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3885" tIns="93885" rIns="93885" bIns="93885" numCol="1" spcCol="1270" anchor="ctr" anchorCtr="0">
          <a:noAutofit/>
        </a:bodyPr>
        <a:lstStyle/>
        <a:p>
          <a:pPr marL="0" lvl="0" indent="0" algn="l" defTabSz="844550">
            <a:lnSpc>
              <a:spcPct val="90000"/>
            </a:lnSpc>
            <a:spcBef>
              <a:spcPct val="0"/>
            </a:spcBef>
            <a:spcAft>
              <a:spcPct val="35000"/>
            </a:spcAft>
            <a:buNone/>
          </a:pPr>
          <a:r>
            <a:rPr lang="nb-NO" sz="1900" kern="1200" dirty="0"/>
            <a:t>Goals</a:t>
          </a:r>
          <a:endParaRPr lang="en-US" sz="1900" kern="1200" dirty="0"/>
        </a:p>
      </dsp:txBody>
      <dsp:txXfrm>
        <a:off x="1024604" y="3330803"/>
        <a:ext cx="6079944" cy="887103"/>
      </dsp:txXfrm>
    </dsp:sp>
    <dsp:sp modelId="{E626AB59-7956-40DC-AA5A-257A94BBD7A5}">
      <dsp:nvSpPr>
        <dsp:cNvPr id="0" name=""/>
        <dsp:cNvSpPr/>
      </dsp:nvSpPr>
      <dsp:spPr>
        <a:xfrm>
          <a:off x="0" y="4439683"/>
          <a:ext cx="7104549" cy="88710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2FA0B38-7004-4E05-9F2F-3AB0877C998E}">
      <dsp:nvSpPr>
        <dsp:cNvPr id="0" name=""/>
        <dsp:cNvSpPr/>
      </dsp:nvSpPr>
      <dsp:spPr>
        <a:xfrm>
          <a:off x="268348" y="4639281"/>
          <a:ext cx="487907" cy="48790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F78DB7D-C6B8-4FB5-B4FB-C25D6D11AA4B}">
      <dsp:nvSpPr>
        <dsp:cNvPr id="0" name=""/>
        <dsp:cNvSpPr/>
      </dsp:nvSpPr>
      <dsp:spPr>
        <a:xfrm>
          <a:off x="1024604" y="4439683"/>
          <a:ext cx="6079944" cy="8871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3885" tIns="93885" rIns="93885" bIns="93885" numCol="1" spcCol="1270" anchor="ctr" anchorCtr="0">
          <a:noAutofit/>
        </a:bodyPr>
        <a:lstStyle/>
        <a:p>
          <a:pPr marL="0" lvl="0" indent="0" algn="l" defTabSz="844550">
            <a:lnSpc>
              <a:spcPct val="90000"/>
            </a:lnSpc>
            <a:spcBef>
              <a:spcPct val="0"/>
            </a:spcBef>
            <a:spcAft>
              <a:spcPct val="35000"/>
            </a:spcAft>
            <a:buNone/>
          </a:pPr>
          <a:r>
            <a:rPr lang="nb-NO" sz="1900" kern="1200" dirty="0" err="1"/>
            <a:t>Additional</a:t>
          </a:r>
          <a:r>
            <a:rPr lang="nb-NO" sz="1900" kern="1200" dirty="0"/>
            <a:t> </a:t>
          </a:r>
          <a:r>
            <a:rPr lang="nb-NO" sz="1900" kern="1200" dirty="0" err="1"/>
            <a:t>information</a:t>
          </a:r>
          <a:endParaRPr lang="en-US" sz="1900" kern="1200" dirty="0"/>
        </a:p>
      </dsp:txBody>
      <dsp:txXfrm>
        <a:off x="1024604" y="4439683"/>
        <a:ext cx="6079944" cy="88710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9/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9/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6.png"/><Relationship Id="rId7" Type="http://schemas.openxmlformats.org/officeDocument/2006/relationships/image" Target="../media/image2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30.png"/><Relationship Id="rId5" Type="http://schemas.openxmlformats.org/officeDocument/2006/relationships/image" Target="../media/image27.png"/><Relationship Id="rId15" Type="http://schemas.openxmlformats.org/officeDocument/2006/relationships/image" Target="../media/image3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9.png"/><Relationship Id="rId14" Type="http://schemas.openxmlformats.org/officeDocument/2006/relationships/hyperlink" Target="http://www.capgemini.com/" TargetMode="Externa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7603170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p>
        </p:txBody>
      </p:sp>
    </p:spTree>
    <p:extLst>
      <p:ext uri="{BB962C8B-B14F-4D97-AF65-F5344CB8AC3E}">
        <p14:creationId xmlns:p14="http://schemas.microsoft.com/office/powerpoint/2010/main" val="1535846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p>
        </p:txBody>
      </p:sp>
    </p:spTree>
    <p:extLst>
      <p:ext uri="{BB962C8B-B14F-4D97-AF65-F5344CB8AC3E}">
        <p14:creationId xmlns:p14="http://schemas.microsoft.com/office/powerpoint/2010/main" val="15583478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A2AD5E62-125B-401D-BACC-CA113F5CA980}"/>
              </a:ext>
            </a:extLst>
          </p:cNvPr>
          <p:cNvSpPr/>
          <p:nvPr/>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7">
            <a:extLst>
              <a:ext uri="{FF2B5EF4-FFF2-40B4-BE49-F238E27FC236}">
                <a16:creationId xmlns:a16="http://schemas.microsoft.com/office/drawing/2014/main" id="{426112C1-E778-4156-85D5-E734509379F9}"/>
              </a:ext>
            </a:extLst>
          </p:cNvPr>
          <p:cNvGrpSpPr/>
          <p:nvPr/>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6EE32CB-4EFE-4786-8A54-3A2CAC34A784}"/>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833C49E3-F9C1-45C3-87D6-8B5C41013D68}"/>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879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genda with Bullets">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A515DA7-741C-4CC1-BAC4-E2BB869EA21B}"/>
              </a:ext>
            </a:extLst>
          </p:cNvPr>
          <p:cNvPicPr>
            <a:picLocks noChangeAspect="1"/>
          </p:cNvPicPr>
          <p:nvPr/>
        </p:nvPicPr>
        <p:blipFill rotWithShape="1">
          <a:blip r:embed="rId2">
            <a:extLst>
              <a:ext uri="{28A0092B-C50C-407E-A947-70E740481C1C}">
                <a14:useLocalDpi xmlns:a14="http://schemas.microsoft.com/office/drawing/2010/main" val="0"/>
              </a:ext>
            </a:extLst>
          </a:blip>
          <a:srcRect l="37319" t="6874" r="13692" b="14501"/>
          <a:stretch/>
        </p:blipFill>
        <p:spPr>
          <a:xfrm rot="16200000" flipH="1">
            <a:off x="-522982" y="522982"/>
            <a:ext cx="6858002" cy="5812037"/>
          </a:xfrm>
          <a:prstGeom prst="rect">
            <a:avLst/>
          </a:prstGeom>
        </p:spPr>
      </p:pic>
      <p:sp>
        <p:nvSpPr>
          <p:cNvPr id="20" name="Text Placeholder 7">
            <a:extLst>
              <a:ext uri="{FF2B5EF4-FFF2-40B4-BE49-F238E27FC236}">
                <a16:creationId xmlns:a16="http://schemas.microsoft.com/office/drawing/2014/main" id="{9AFD87C0-70C2-43AC-9DA3-160A95F947F3}"/>
              </a:ext>
            </a:extLst>
          </p:cNvPr>
          <p:cNvSpPr>
            <a:spLocks noGrp="1"/>
          </p:cNvSpPr>
          <p:nvPr>
            <p:ph type="body" sz="quarter" idx="11" hasCustomPrompt="1"/>
          </p:nvPr>
        </p:nvSpPr>
        <p:spPr>
          <a:xfrm>
            <a:off x="5812038" y="13010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1" name="Text Placeholder 7">
            <a:extLst>
              <a:ext uri="{FF2B5EF4-FFF2-40B4-BE49-F238E27FC236}">
                <a16:creationId xmlns:a16="http://schemas.microsoft.com/office/drawing/2014/main" id="{3BC068EE-22F5-4ABE-B3BF-88CF841C40E2}"/>
              </a:ext>
            </a:extLst>
          </p:cNvPr>
          <p:cNvSpPr>
            <a:spLocks noGrp="1"/>
          </p:cNvSpPr>
          <p:nvPr>
            <p:ph type="body" sz="quarter" idx="12" hasCustomPrompt="1"/>
          </p:nvPr>
        </p:nvSpPr>
        <p:spPr>
          <a:xfrm>
            <a:off x="5812038" y="1960142"/>
            <a:ext cx="6103736" cy="555448"/>
          </a:xfrm>
          <a:prstGeom prst="rect">
            <a:avLst/>
          </a:prstGeo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2" name="Text Placeholder 7">
            <a:extLst>
              <a:ext uri="{FF2B5EF4-FFF2-40B4-BE49-F238E27FC236}">
                <a16:creationId xmlns:a16="http://schemas.microsoft.com/office/drawing/2014/main" id="{59382DC9-351D-40C2-ABD1-40AADDBBA7C6}"/>
              </a:ext>
            </a:extLst>
          </p:cNvPr>
          <p:cNvSpPr>
            <a:spLocks noGrp="1"/>
          </p:cNvSpPr>
          <p:nvPr>
            <p:ph type="body" sz="quarter" idx="13" hasCustomPrompt="1"/>
          </p:nvPr>
        </p:nvSpPr>
        <p:spPr>
          <a:xfrm>
            <a:off x="5812038" y="26192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3" name="Text Placeholder 7">
            <a:extLst>
              <a:ext uri="{FF2B5EF4-FFF2-40B4-BE49-F238E27FC236}">
                <a16:creationId xmlns:a16="http://schemas.microsoft.com/office/drawing/2014/main" id="{0710CA76-E2C0-4713-AB03-B2222F2BF9C1}"/>
              </a:ext>
            </a:extLst>
          </p:cNvPr>
          <p:cNvSpPr>
            <a:spLocks noGrp="1"/>
          </p:cNvSpPr>
          <p:nvPr>
            <p:ph type="body" sz="quarter" idx="14" hasCustomPrompt="1"/>
          </p:nvPr>
        </p:nvSpPr>
        <p:spPr>
          <a:xfrm>
            <a:off x="5812038" y="52557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4" name="Text Placeholder 7">
            <a:extLst>
              <a:ext uri="{FF2B5EF4-FFF2-40B4-BE49-F238E27FC236}">
                <a16:creationId xmlns:a16="http://schemas.microsoft.com/office/drawing/2014/main" id="{2DED1719-919F-4F18-8CBC-B81012FF4F1E}"/>
              </a:ext>
            </a:extLst>
          </p:cNvPr>
          <p:cNvSpPr>
            <a:spLocks noGrp="1"/>
          </p:cNvSpPr>
          <p:nvPr>
            <p:ph type="body" sz="quarter" idx="15" hasCustomPrompt="1"/>
          </p:nvPr>
        </p:nvSpPr>
        <p:spPr>
          <a:xfrm>
            <a:off x="5812038" y="39375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5" name="Text Placeholder 7">
            <a:extLst>
              <a:ext uri="{FF2B5EF4-FFF2-40B4-BE49-F238E27FC236}">
                <a16:creationId xmlns:a16="http://schemas.microsoft.com/office/drawing/2014/main" id="{5630E427-AF1A-49D9-91D1-0349578FAF19}"/>
              </a:ext>
            </a:extLst>
          </p:cNvPr>
          <p:cNvSpPr>
            <a:spLocks noGrp="1"/>
          </p:cNvSpPr>
          <p:nvPr>
            <p:ph type="body" sz="quarter" idx="16" hasCustomPrompt="1"/>
          </p:nvPr>
        </p:nvSpPr>
        <p:spPr>
          <a:xfrm>
            <a:off x="5812038" y="459664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7" name="Text Placeholder 7">
            <a:extLst>
              <a:ext uri="{FF2B5EF4-FFF2-40B4-BE49-F238E27FC236}">
                <a16:creationId xmlns:a16="http://schemas.microsoft.com/office/drawing/2014/main" id="{05B0F0D2-9B59-4DCE-A7F0-46C6C94F904A}"/>
              </a:ext>
            </a:extLst>
          </p:cNvPr>
          <p:cNvSpPr>
            <a:spLocks noGrp="1"/>
          </p:cNvSpPr>
          <p:nvPr>
            <p:ph type="body" sz="quarter" idx="18" hasCustomPrompt="1"/>
          </p:nvPr>
        </p:nvSpPr>
        <p:spPr>
          <a:xfrm>
            <a:off x="5812038" y="5914890"/>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9" name="Text Placeholder 7">
            <a:extLst>
              <a:ext uri="{FF2B5EF4-FFF2-40B4-BE49-F238E27FC236}">
                <a16:creationId xmlns:a16="http://schemas.microsoft.com/office/drawing/2014/main" id="{BEFAEF53-DFEE-4C56-9A89-479FA76B100A}"/>
              </a:ext>
            </a:extLst>
          </p:cNvPr>
          <p:cNvSpPr>
            <a:spLocks noGrp="1"/>
          </p:cNvSpPr>
          <p:nvPr>
            <p:ph type="body" sz="quarter" idx="19" hasCustomPrompt="1"/>
          </p:nvPr>
        </p:nvSpPr>
        <p:spPr>
          <a:xfrm>
            <a:off x="5219040" y="13010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1</a:t>
            </a:r>
          </a:p>
        </p:txBody>
      </p:sp>
      <p:sp>
        <p:nvSpPr>
          <p:cNvPr id="31" name="Text Placeholder 7">
            <a:extLst>
              <a:ext uri="{FF2B5EF4-FFF2-40B4-BE49-F238E27FC236}">
                <a16:creationId xmlns:a16="http://schemas.microsoft.com/office/drawing/2014/main" id="{2AAD1C81-8340-4E04-8BEA-69F2DD76C1B0}"/>
              </a:ext>
            </a:extLst>
          </p:cNvPr>
          <p:cNvSpPr>
            <a:spLocks noGrp="1"/>
          </p:cNvSpPr>
          <p:nvPr>
            <p:ph type="body" sz="quarter" idx="20" hasCustomPrompt="1"/>
          </p:nvPr>
        </p:nvSpPr>
        <p:spPr>
          <a:xfrm>
            <a:off x="5219040" y="19601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2</a:t>
            </a:r>
          </a:p>
        </p:txBody>
      </p:sp>
      <p:sp>
        <p:nvSpPr>
          <p:cNvPr id="33" name="Text Placeholder 7">
            <a:extLst>
              <a:ext uri="{FF2B5EF4-FFF2-40B4-BE49-F238E27FC236}">
                <a16:creationId xmlns:a16="http://schemas.microsoft.com/office/drawing/2014/main" id="{E08C5D12-CB21-4E9A-B574-43221F42B836}"/>
              </a:ext>
            </a:extLst>
          </p:cNvPr>
          <p:cNvSpPr>
            <a:spLocks noGrp="1"/>
          </p:cNvSpPr>
          <p:nvPr>
            <p:ph type="body" sz="quarter" idx="21" hasCustomPrompt="1"/>
          </p:nvPr>
        </p:nvSpPr>
        <p:spPr>
          <a:xfrm>
            <a:off x="5219040" y="26192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3</a:t>
            </a:r>
          </a:p>
        </p:txBody>
      </p:sp>
      <p:sp>
        <p:nvSpPr>
          <p:cNvPr id="35" name="Text Placeholder 7">
            <a:extLst>
              <a:ext uri="{FF2B5EF4-FFF2-40B4-BE49-F238E27FC236}">
                <a16:creationId xmlns:a16="http://schemas.microsoft.com/office/drawing/2014/main" id="{9D51691D-12CC-40BE-AB48-50F4ADC75971}"/>
              </a:ext>
            </a:extLst>
          </p:cNvPr>
          <p:cNvSpPr>
            <a:spLocks noGrp="1"/>
          </p:cNvSpPr>
          <p:nvPr>
            <p:ph type="body" sz="quarter" idx="22" hasCustomPrompt="1"/>
          </p:nvPr>
        </p:nvSpPr>
        <p:spPr>
          <a:xfrm>
            <a:off x="5219040" y="327839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4</a:t>
            </a:r>
          </a:p>
        </p:txBody>
      </p:sp>
      <p:sp>
        <p:nvSpPr>
          <p:cNvPr id="43" name="Text Placeholder 7">
            <a:extLst>
              <a:ext uri="{FF2B5EF4-FFF2-40B4-BE49-F238E27FC236}">
                <a16:creationId xmlns:a16="http://schemas.microsoft.com/office/drawing/2014/main" id="{10E2D5DB-B531-4A82-BD73-9C29EF1EB46B}"/>
              </a:ext>
            </a:extLst>
          </p:cNvPr>
          <p:cNvSpPr>
            <a:spLocks noGrp="1"/>
          </p:cNvSpPr>
          <p:nvPr>
            <p:ph type="body" sz="quarter" idx="23" hasCustomPrompt="1"/>
          </p:nvPr>
        </p:nvSpPr>
        <p:spPr>
          <a:xfrm>
            <a:off x="5219040" y="39375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5</a:t>
            </a:r>
          </a:p>
        </p:txBody>
      </p:sp>
      <p:sp>
        <p:nvSpPr>
          <p:cNvPr id="50" name="Text Placeholder 7">
            <a:extLst>
              <a:ext uri="{FF2B5EF4-FFF2-40B4-BE49-F238E27FC236}">
                <a16:creationId xmlns:a16="http://schemas.microsoft.com/office/drawing/2014/main" id="{919CCC07-FAD6-47A5-A77D-9AA0E2F2A552}"/>
              </a:ext>
            </a:extLst>
          </p:cNvPr>
          <p:cNvSpPr>
            <a:spLocks noGrp="1"/>
          </p:cNvSpPr>
          <p:nvPr>
            <p:ph type="body" sz="quarter" idx="24" hasCustomPrompt="1"/>
          </p:nvPr>
        </p:nvSpPr>
        <p:spPr>
          <a:xfrm>
            <a:off x="5219040" y="45966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6</a:t>
            </a:r>
          </a:p>
        </p:txBody>
      </p:sp>
      <p:sp>
        <p:nvSpPr>
          <p:cNvPr id="55" name="Text Placeholder 7">
            <a:extLst>
              <a:ext uri="{FF2B5EF4-FFF2-40B4-BE49-F238E27FC236}">
                <a16:creationId xmlns:a16="http://schemas.microsoft.com/office/drawing/2014/main" id="{2C3CBBC2-7099-4832-8F7F-DE82F4964E9A}"/>
              </a:ext>
            </a:extLst>
          </p:cNvPr>
          <p:cNvSpPr>
            <a:spLocks noGrp="1"/>
          </p:cNvSpPr>
          <p:nvPr>
            <p:ph type="body" sz="quarter" idx="25" hasCustomPrompt="1"/>
          </p:nvPr>
        </p:nvSpPr>
        <p:spPr>
          <a:xfrm>
            <a:off x="5219040" y="52557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7</a:t>
            </a:r>
          </a:p>
        </p:txBody>
      </p:sp>
      <p:grpSp>
        <p:nvGrpSpPr>
          <p:cNvPr id="7" name="Group 6">
            <a:extLst>
              <a:ext uri="{FF2B5EF4-FFF2-40B4-BE49-F238E27FC236}">
                <a16:creationId xmlns:a16="http://schemas.microsoft.com/office/drawing/2014/main" id="{2CCD6DB2-2B82-4319-B1B7-23B970C97C8E}"/>
              </a:ext>
            </a:extLst>
          </p:cNvPr>
          <p:cNvGrpSpPr/>
          <p:nvPr/>
        </p:nvGrpSpPr>
        <p:grpSpPr>
          <a:xfrm>
            <a:off x="5219040" y="1911057"/>
            <a:ext cx="6696734" cy="3954750"/>
            <a:chOff x="5075004" y="1856465"/>
            <a:chExt cx="648072" cy="3954750"/>
          </a:xfrm>
        </p:grpSpPr>
        <p:cxnSp>
          <p:nvCxnSpPr>
            <p:cNvPr id="28" name="Straight Connector 27">
              <a:extLst>
                <a:ext uri="{FF2B5EF4-FFF2-40B4-BE49-F238E27FC236}">
                  <a16:creationId xmlns:a16="http://schemas.microsoft.com/office/drawing/2014/main" id="{B534ADE6-229C-45AE-8546-284CE33CC9B4}"/>
                </a:ext>
              </a:extLst>
            </p:cNvPr>
            <p:cNvCxnSpPr>
              <a:cxnSpLocks/>
            </p:cNvCxnSpPr>
            <p:nvPr/>
          </p:nvCxnSpPr>
          <p:spPr>
            <a:xfrm>
              <a:off x="5075004" y="18564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123473B-CB12-42A2-99E7-B0357969A148}"/>
                </a:ext>
              </a:extLst>
            </p:cNvPr>
            <p:cNvCxnSpPr>
              <a:cxnSpLocks/>
            </p:cNvCxnSpPr>
            <p:nvPr/>
          </p:nvCxnSpPr>
          <p:spPr>
            <a:xfrm>
              <a:off x="5075004" y="25155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D444121-3011-49CE-AFE2-72AC5775DC28}"/>
                </a:ext>
              </a:extLst>
            </p:cNvPr>
            <p:cNvCxnSpPr>
              <a:cxnSpLocks/>
            </p:cNvCxnSpPr>
            <p:nvPr/>
          </p:nvCxnSpPr>
          <p:spPr>
            <a:xfrm>
              <a:off x="5075004" y="31747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2BA3C9-4728-46E5-A2EE-9BBF5C466798}"/>
                </a:ext>
              </a:extLst>
            </p:cNvPr>
            <p:cNvCxnSpPr>
              <a:cxnSpLocks/>
            </p:cNvCxnSpPr>
            <p:nvPr/>
          </p:nvCxnSpPr>
          <p:spPr>
            <a:xfrm>
              <a:off x="5075004" y="383384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9F45924-729F-4E26-AF65-82B72177222E}"/>
                </a:ext>
              </a:extLst>
            </p:cNvPr>
            <p:cNvCxnSpPr>
              <a:cxnSpLocks/>
            </p:cNvCxnSpPr>
            <p:nvPr/>
          </p:nvCxnSpPr>
          <p:spPr>
            <a:xfrm>
              <a:off x="5075004" y="44929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3AFAC14-AFA1-4754-A546-F85476AE23C7}"/>
                </a:ext>
              </a:extLst>
            </p:cNvPr>
            <p:cNvCxnSpPr>
              <a:cxnSpLocks/>
            </p:cNvCxnSpPr>
            <p:nvPr/>
          </p:nvCxnSpPr>
          <p:spPr>
            <a:xfrm>
              <a:off x="5075004" y="51520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CC7878F-8FEF-4B70-866B-EB4879D13E0D}"/>
                </a:ext>
              </a:extLst>
            </p:cNvPr>
            <p:cNvCxnSpPr>
              <a:cxnSpLocks/>
            </p:cNvCxnSpPr>
            <p:nvPr/>
          </p:nvCxnSpPr>
          <p:spPr>
            <a:xfrm>
              <a:off x="5075004" y="58112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57" name="Text Placeholder 7">
            <a:extLst>
              <a:ext uri="{FF2B5EF4-FFF2-40B4-BE49-F238E27FC236}">
                <a16:creationId xmlns:a16="http://schemas.microsoft.com/office/drawing/2014/main" id="{72CE600F-15D2-44E8-AD6D-1A2D098DEB39}"/>
              </a:ext>
            </a:extLst>
          </p:cNvPr>
          <p:cNvSpPr>
            <a:spLocks noGrp="1"/>
          </p:cNvSpPr>
          <p:nvPr>
            <p:ph type="body" sz="quarter" idx="26" hasCustomPrompt="1"/>
          </p:nvPr>
        </p:nvSpPr>
        <p:spPr>
          <a:xfrm>
            <a:off x="5219040" y="5914890"/>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8</a:t>
            </a:r>
          </a:p>
        </p:txBody>
      </p:sp>
      <p:sp>
        <p:nvSpPr>
          <p:cNvPr id="58" name="Text Placeholder 7">
            <a:extLst>
              <a:ext uri="{FF2B5EF4-FFF2-40B4-BE49-F238E27FC236}">
                <a16:creationId xmlns:a16="http://schemas.microsoft.com/office/drawing/2014/main" id="{9882A830-7DD4-4F53-BED4-14CBCA526AB6}"/>
              </a:ext>
            </a:extLst>
          </p:cNvPr>
          <p:cNvSpPr>
            <a:spLocks noGrp="1"/>
          </p:cNvSpPr>
          <p:nvPr>
            <p:ph type="body" sz="quarter" idx="27" hasCustomPrompt="1"/>
          </p:nvPr>
        </p:nvSpPr>
        <p:spPr>
          <a:xfrm>
            <a:off x="5812038" y="327839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030076"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a:t>CLICK TO INSERT TITLE</a:t>
            </a:r>
          </a:p>
        </p:txBody>
      </p:sp>
      <p:sp>
        <p:nvSpPr>
          <p:cNvPr id="2" name="Rectangle 1">
            <a:extLst>
              <a:ext uri="{FF2B5EF4-FFF2-40B4-BE49-F238E27FC236}">
                <a16:creationId xmlns:a16="http://schemas.microsoft.com/office/drawing/2014/main" id="{78D6D7E3-BD23-46E1-83C1-D6E27E07C1FC}"/>
              </a:ext>
            </a:extLst>
          </p:cNvPr>
          <p:cNvSpPr/>
          <p:nvPr/>
        </p:nvSpPr>
        <p:spPr>
          <a:xfrm>
            <a:off x="11532604" y="80628"/>
            <a:ext cx="504056" cy="6840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59AF2768-7AA1-44E4-86B1-86103A31E702}"/>
              </a:ext>
            </a:extLst>
          </p:cNvPr>
          <p:cNvGrpSpPr/>
          <p:nvPr/>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23DFF050-CF0F-4D2A-8F48-9D3DEE6D860E}"/>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321">
              <a:extLst>
                <a:ext uri="{FF2B5EF4-FFF2-40B4-BE49-F238E27FC236}">
                  <a16:creationId xmlns:a16="http://schemas.microsoft.com/office/drawing/2014/main" id="{8EEDCE04-FFCF-4E65-A7F5-D7EFA8510A4A}"/>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849865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 with Bullets">
    <p:bg>
      <p:bgPr>
        <a:solidFill>
          <a:schemeClr val="tx2"/>
        </a:solidFill>
        <a:effectLst/>
      </p:bgPr>
    </p:bg>
    <p:spTree>
      <p:nvGrpSpPr>
        <p:cNvPr id="1" name=""/>
        <p:cNvGrpSpPr/>
        <p:nvPr/>
      </p:nvGrpSpPr>
      <p:grpSpPr>
        <a:xfrm>
          <a:off x="0" y="0"/>
          <a:ext cx="0" cy="0"/>
          <a:chOff x="0" y="0"/>
          <a:chExt cx="0" cy="0"/>
        </a:xfrm>
      </p:grpSpPr>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581006" y="1025440"/>
            <a:ext cx="5239630" cy="555448"/>
          </a:xfrm>
          <a:prstGeom prst="rect">
            <a:avLst/>
          </a:prstGeom>
        </p:spPr>
        <p:txBody>
          <a:bodyPr anchor="ctr">
            <a:noAutofit/>
          </a:bodyPr>
          <a:lstStyle>
            <a:lvl1pPr>
              <a:lnSpc>
                <a:spcPct val="100000"/>
              </a:lnSpc>
              <a:spcBef>
                <a:spcPts val="0"/>
              </a:spcBef>
              <a:spcAft>
                <a:spcPts val="0"/>
              </a:spcAft>
              <a:defRPr sz="18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cxnSp>
        <p:nvCxnSpPr>
          <p:cNvPr id="5" name="Straight Connector 4">
            <a:extLst>
              <a:ext uri="{FF2B5EF4-FFF2-40B4-BE49-F238E27FC236}">
                <a16:creationId xmlns:a16="http://schemas.microsoft.com/office/drawing/2014/main" id="{DF9511EC-3AD8-4E3E-944D-330F97E3D3DD}"/>
              </a:ext>
            </a:extLst>
          </p:cNvPr>
          <p:cNvCxnSpPr>
            <a:cxnSpLocks/>
          </p:cNvCxnSpPr>
          <p:nvPr/>
        </p:nvCxnSpPr>
        <p:spPr>
          <a:xfrm>
            <a:off x="5843972" y="1580888"/>
            <a:ext cx="64807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51B38475-EEFF-4D61-8B82-2C1B9CEDEEB4}"/>
              </a:ext>
            </a:extLst>
          </p:cNvPr>
          <p:cNvSpPr>
            <a:spLocks noGrp="1"/>
          </p:cNvSpPr>
          <p:nvPr>
            <p:ph type="body" sz="quarter" idx="19" hasCustomPrompt="1"/>
          </p:nvPr>
        </p:nvSpPr>
        <p:spPr>
          <a:xfrm>
            <a:off x="5988008" y="1025440"/>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1</a:t>
            </a:r>
          </a:p>
        </p:txBody>
      </p:sp>
      <p:pic>
        <p:nvPicPr>
          <p:cNvPr id="7" name="Picture 6">
            <a:extLst>
              <a:ext uri="{FF2B5EF4-FFF2-40B4-BE49-F238E27FC236}">
                <a16:creationId xmlns:a16="http://schemas.microsoft.com/office/drawing/2014/main" id="{6483C37E-EF26-4D04-8387-23A11A958904}"/>
              </a:ext>
            </a:extLst>
          </p:cNvPr>
          <p:cNvPicPr>
            <a:picLocks noChangeAspect="1"/>
          </p:cNvPicPr>
          <p:nvPr/>
        </p:nvPicPr>
        <p:blipFill rotWithShape="1">
          <a:blip r:embed="rId2">
            <a:extLst>
              <a:ext uri="{28A0092B-C50C-407E-A947-70E740481C1C}">
                <a14:useLocalDpi xmlns:a14="http://schemas.microsoft.com/office/drawing/2010/main" val="0"/>
              </a:ext>
            </a:extLst>
          </a:blip>
          <a:srcRect t="13649" b="16290"/>
          <a:stretch/>
        </p:blipFill>
        <p:spPr>
          <a:xfrm>
            <a:off x="-1" y="1"/>
            <a:ext cx="4979877" cy="6858000"/>
          </a:xfrm>
          <a:prstGeom prst="rect">
            <a:avLst/>
          </a:prstGeom>
        </p:spPr>
      </p:pic>
      <p:sp>
        <p:nvSpPr>
          <p:cNvPr id="47" name="Text Placeholder 7">
            <a:extLst>
              <a:ext uri="{FF2B5EF4-FFF2-40B4-BE49-F238E27FC236}">
                <a16:creationId xmlns:a16="http://schemas.microsoft.com/office/drawing/2014/main" id="{5696C968-BAEE-4EAC-97A5-43A363DDBC16}"/>
              </a:ext>
            </a:extLst>
          </p:cNvPr>
          <p:cNvSpPr>
            <a:spLocks noGrp="1"/>
          </p:cNvSpPr>
          <p:nvPr>
            <p:ph type="body" sz="quarter" idx="20" hasCustomPrompt="1"/>
          </p:nvPr>
        </p:nvSpPr>
        <p:spPr>
          <a:xfrm>
            <a:off x="6581006" y="1664804"/>
            <a:ext cx="5239630" cy="864096"/>
          </a:xfrm>
          <a:prstGeom prst="rect">
            <a:avLst/>
          </a:prstGeom>
        </p:spPr>
        <p:txBody>
          <a:bodyPr anchor="t">
            <a:noAutofit/>
          </a:bodyPr>
          <a:lstStyle>
            <a:lvl1pPr marL="180975" indent="-180975">
              <a:lnSpc>
                <a:spcPct val="100000"/>
              </a:lnSpc>
              <a:spcBef>
                <a:spcPts val="0"/>
              </a:spcBef>
              <a:spcAft>
                <a:spcPts val="300"/>
              </a:spcAft>
              <a:buClr>
                <a:schemeClr val="bg1"/>
              </a:buClr>
              <a:buFont typeface="Wingdings" panose="05000000000000000000" pitchFamily="2" charset="2"/>
              <a:buChar char="§"/>
              <a:defRPr sz="14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8" name="Text Placeholder 7">
            <a:extLst>
              <a:ext uri="{FF2B5EF4-FFF2-40B4-BE49-F238E27FC236}">
                <a16:creationId xmlns:a16="http://schemas.microsoft.com/office/drawing/2014/main" id="{F7EBD7B1-7030-484C-AAAA-EE34C4CCBD27}"/>
              </a:ext>
            </a:extLst>
          </p:cNvPr>
          <p:cNvSpPr>
            <a:spLocks noGrp="1"/>
          </p:cNvSpPr>
          <p:nvPr>
            <p:ph type="body" sz="quarter" idx="21" hasCustomPrompt="1"/>
          </p:nvPr>
        </p:nvSpPr>
        <p:spPr>
          <a:xfrm>
            <a:off x="6581006" y="2612816"/>
            <a:ext cx="5239630" cy="555448"/>
          </a:xfrm>
          <a:prstGeom prst="rect">
            <a:avLst/>
          </a:prstGeom>
        </p:spPr>
        <p:txBody>
          <a:bodyPr anchor="ctr">
            <a:noAutofit/>
          </a:bodyPr>
          <a:lstStyle>
            <a:lvl1pPr>
              <a:lnSpc>
                <a:spcPct val="100000"/>
              </a:lnSpc>
              <a:spcBef>
                <a:spcPts val="0"/>
              </a:spcBef>
              <a:spcAft>
                <a:spcPts val="0"/>
              </a:spcAft>
              <a:defRPr sz="18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cxnSp>
        <p:nvCxnSpPr>
          <p:cNvPr id="49" name="Straight Connector 48">
            <a:extLst>
              <a:ext uri="{FF2B5EF4-FFF2-40B4-BE49-F238E27FC236}">
                <a16:creationId xmlns:a16="http://schemas.microsoft.com/office/drawing/2014/main" id="{146CDD1D-BA3F-4550-891D-4235D67F584B}"/>
              </a:ext>
            </a:extLst>
          </p:cNvPr>
          <p:cNvCxnSpPr>
            <a:cxnSpLocks/>
          </p:cNvCxnSpPr>
          <p:nvPr/>
        </p:nvCxnSpPr>
        <p:spPr>
          <a:xfrm>
            <a:off x="5843972" y="3168264"/>
            <a:ext cx="64807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Text Placeholder 7">
            <a:extLst>
              <a:ext uri="{FF2B5EF4-FFF2-40B4-BE49-F238E27FC236}">
                <a16:creationId xmlns:a16="http://schemas.microsoft.com/office/drawing/2014/main" id="{9EBACEFE-5902-4234-A4B9-63DC414301AF}"/>
              </a:ext>
            </a:extLst>
          </p:cNvPr>
          <p:cNvSpPr>
            <a:spLocks noGrp="1"/>
          </p:cNvSpPr>
          <p:nvPr>
            <p:ph type="body" sz="quarter" idx="22" hasCustomPrompt="1"/>
          </p:nvPr>
        </p:nvSpPr>
        <p:spPr>
          <a:xfrm>
            <a:off x="5988008" y="2612816"/>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1</a:t>
            </a:r>
          </a:p>
        </p:txBody>
      </p:sp>
      <p:sp>
        <p:nvSpPr>
          <p:cNvPr id="51" name="Text Placeholder 7">
            <a:extLst>
              <a:ext uri="{FF2B5EF4-FFF2-40B4-BE49-F238E27FC236}">
                <a16:creationId xmlns:a16="http://schemas.microsoft.com/office/drawing/2014/main" id="{AEE8535D-F1BF-4006-B6C5-C84E7C5F9266}"/>
              </a:ext>
            </a:extLst>
          </p:cNvPr>
          <p:cNvSpPr>
            <a:spLocks noGrp="1"/>
          </p:cNvSpPr>
          <p:nvPr>
            <p:ph type="body" sz="quarter" idx="23" hasCustomPrompt="1"/>
          </p:nvPr>
        </p:nvSpPr>
        <p:spPr>
          <a:xfrm>
            <a:off x="6581006" y="3252180"/>
            <a:ext cx="5239630" cy="864096"/>
          </a:xfrm>
          <a:prstGeom prst="rect">
            <a:avLst/>
          </a:prstGeom>
        </p:spPr>
        <p:txBody>
          <a:bodyPr anchor="t">
            <a:noAutofit/>
          </a:bodyPr>
          <a:lstStyle>
            <a:lvl1pPr marL="180975" indent="-180975">
              <a:lnSpc>
                <a:spcPct val="100000"/>
              </a:lnSpc>
              <a:spcBef>
                <a:spcPts val="0"/>
              </a:spcBef>
              <a:spcAft>
                <a:spcPts val="300"/>
              </a:spcAft>
              <a:buClr>
                <a:schemeClr val="bg1"/>
              </a:buClr>
              <a:buFont typeface="Wingdings" panose="05000000000000000000" pitchFamily="2" charset="2"/>
              <a:buChar char="§"/>
              <a:defRPr sz="14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52" name="Text Placeholder 7">
            <a:extLst>
              <a:ext uri="{FF2B5EF4-FFF2-40B4-BE49-F238E27FC236}">
                <a16:creationId xmlns:a16="http://schemas.microsoft.com/office/drawing/2014/main" id="{0E1E14CF-FE0B-46EC-B1F5-6AC030B45971}"/>
              </a:ext>
            </a:extLst>
          </p:cNvPr>
          <p:cNvSpPr>
            <a:spLocks noGrp="1"/>
          </p:cNvSpPr>
          <p:nvPr>
            <p:ph type="body" sz="quarter" idx="24" hasCustomPrompt="1"/>
          </p:nvPr>
        </p:nvSpPr>
        <p:spPr>
          <a:xfrm>
            <a:off x="6581006" y="4206285"/>
            <a:ext cx="5239630" cy="555448"/>
          </a:xfrm>
          <a:prstGeom prst="rect">
            <a:avLst/>
          </a:prstGeom>
        </p:spPr>
        <p:txBody>
          <a:bodyPr anchor="ctr">
            <a:noAutofit/>
          </a:bodyPr>
          <a:lstStyle>
            <a:lvl1pPr>
              <a:lnSpc>
                <a:spcPct val="100000"/>
              </a:lnSpc>
              <a:spcBef>
                <a:spcPts val="0"/>
              </a:spcBef>
              <a:spcAft>
                <a:spcPts val="0"/>
              </a:spcAft>
              <a:defRPr sz="18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cxnSp>
        <p:nvCxnSpPr>
          <p:cNvPr id="53" name="Straight Connector 52">
            <a:extLst>
              <a:ext uri="{FF2B5EF4-FFF2-40B4-BE49-F238E27FC236}">
                <a16:creationId xmlns:a16="http://schemas.microsoft.com/office/drawing/2014/main" id="{F1FFCAEC-115C-4856-A194-1F3FF3094B58}"/>
              </a:ext>
            </a:extLst>
          </p:cNvPr>
          <p:cNvCxnSpPr>
            <a:cxnSpLocks/>
          </p:cNvCxnSpPr>
          <p:nvPr/>
        </p:nvCxnSpPr>
        <p:spPr>
          <a:xfrm>
            <a:off x="5843972" y="4761733"/>
            <a:ext cx="64807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Text Placeholder 7">
            <a:extLst>
              <a:ext uri="{FF2B5EF4-FFF2-40B4-BE49-F238E27FC236}">
                <a16:creationId xmlns:a16="http://schemas.microsoft.com/office/drawing/2014/main" id="{39800D1C-BFF0-451C-A67C-6F0A8F9AD31A}"/>
              </a:ext>
            </a:extLst>
          </p:cNvPr>
          <p:cNvSpPr>
            <a:spLocks noGrp="1"/>
          </p:cNvSpPr>
          <p:nvPr>
            <p:ph type="body" sz="quarter" idx="25" hasCustomPrompt="1"/>
          </p:nvPr>
        </p:nvSpPr>
        <p:spPr>
          <a:xfrm>
            <a:off x="5988008" y="4206285"/>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1</a:t>
            </a:r>
          </a:p>
        </p:txBody>
      </p:sp>
      <p:sp>
        <p:nvSpPr>
          <p:cNvPr id="55" name="Text Placeholder 7">
            <a:extLst>
              <a:ext uri="{FF2B5EF4-FFF2-40B4-BE49-F238E27FC236}">
                <a16:creationId xmlns:a16="http://schemas.microsoft.com/office/drawing/2014/main" id="{89100200-558A-4028-A3E2-1BD62FF3EDEF}"/>
              </a:ext>
            </a:extLst>
          </p:cNvPr>
          <p:cNvSpPr>
            <a:spLocks noGrp="1"/>
          </p:cNvSpPr>
          <p:nvPr>
            <p:ph type="body" sz="quarter" idx="26" hasCustomPrompt="1"/>
          </p:nvPr>
        </p:nvSpPr>
        <p:spPr>
          <a:xfrm>
            <a:off x="6581006" y="4845649"/>
            <a:ext cx="5239630" cy="864096"/>
          </a:xfrm>
          <a:prstGeom prst="rect">
            <a:avLst/>
          </a:prstGeom>
        </p:spPr>
        <p:txBody>
          <a:bodyPr anchor="t">
            <a:noAutofit/>
          </a:bodyPr>
          <a:lstStyle>
            <a:lvl1pPr marL="180975" indent="-180975">
              <a:lnSpc>
                <a:spcPct val="100000"/>
              </a:lnSpc>
              <a:spcBef>
                <a:spcPts val="0"/>
              </a:spcBef>
              <a:spcAft>
                <a:spcPts val="300"/>
              </a:spcAft>
              <a:buClr>
                <a:schemeClr val="bg1"/>
              </a:buClr>
              <a:buFont typeface="Wingdings" panose="05000000000000000000" pitchFamily="2" charset="2"/>
              <a:buChar char="§"/>
              <a:defRPr sz="14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4">
            <a:extLst>
              <a:ext uri="{FF2B5EF4-FFF2-40B4-BE49-F238E27FC236}">
                <a16:creationId xmlns:a16="http://schemas.microsoft.com/office/drawing/2014/main" id="{01DD86F0-5287-4ACC-A3B6-3156B9528B2A}"/>
              </a:ext>
            </a:extLst>
          </p:cNvPr>
          <p:cNvSpPr>
            <a:spLocks noGrp="1"/>
          </p:cNvSpPr>
          <p:nvPr>
            <p:ph type="body" sz="quarter" idx="27" hasCustomPrompt="1"/>
          </p:nvPr>
        </p:nvSpPr>
        <p:spPr>
          <a:xfrm>
            <a:off x="550200" y="0"/>
            <a:ext cx="8030076"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a:t>CLICK TO INSERT TITLE</a:t>
            </a:r>
          </a:p>
        </p:txBody>
      </p:sp>
    </p:spTree>
    <p:extLst>
      <p:ext uri="{BB962C8B-B14F-4D97-AF65-F5344CB8AC3E}">
        <p14:creationId xmlns:p14="http://schemas.microsoft.com/office/powerpoint/2010/main" val="15214939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with Bullets">
    <p:bg>
      <p:bgPr>
        <a:solidFill>
          <a:schemeClr val="bg1">
            <a:lumMod val="85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9240F-8CB8-4944-A2F6-758B172285D5}"/>
              </a:ext>
            </a:extLst>
          </p:cNvPr>
          <p:cNvPicPr>
            <a:picLocks noChangeAspect="1"/>
          </p:cNvPicPr>
          <p:nvPr/>
        </p:nvPicPr>
        <p:blipFill rotWithShape="1">
          <a:blip r:embed="rId2">
            <a:extLst>
              <a:ext uri="{28A0092B-C50C-407E-A947-70E740481C1C}">
                <a14:useLocalDpi xmlns:a14="http://schemas.microsoft.com/office/drawing/2010/main" val="0"/>
              </a:ext>
            </a:extLst>
          </a:blip>
          <a:srcRect t="2649" b="35815"/>
          <a:stretch/>
        </p:blipFill>
        <p:spPr>
          <a:xfrm>
            <a:off x="227013" y="0"/>
            <a:ext cx="11964987" cy="6858000"/>
          </a:xfrm>
          <a:prstGeom prst="rect">
            <a:avLst/>
          </a:prstGeom>
        </p:spPr>
      </p:pic>
      <p:sp>
        <p:nvSpPr>
          <p:cNvPr id="11" name="Text Placeholder 4">
            <a:extLst>
              <a:ext uri="{FF2B5EF4-FFF2-40B4-BE49-F238E27FC236}">
                <a16:creationId xmlns:a16="http://schemas.microsoft.com/office/drawing/2014/main" id="{6E57F194-2B3F-4A81-848E-18C0009F12D1}"/>
              </a:ext>
            </a:extLst>
          </p:cNvPr>
          <p:cNvSpPr>
            <a:spLocks noGrp="1"/>
          </p:cNvSpPr>
          <p:nvPr>
            <p:ph type="body" sz="quarter" idx="27" hasCustomPrompt="1"/>
          </p:nvPr>
        </p:nvSpPr>
        <p:spPr>
          <a:xfrm>
            <a:off x="550200" y="0"/>
            <a:ext cx="8030076" cy="1105200"/>
          </a:xfrm>
          <a:prstGeom prst="rect">
            <a:avLst/>
          </a:prstGeom>
        </p:spPr>
        <p:txBody>
          <a:bodyPr lIns="0" rIns="0" anchor="ctr" anchorCtr="0"/>
          <a:lstStyle>
            <a:lvl1pPr>
              <a:lnSpc>
                <a:spcPct val="100000"/>
              </a:lnSpc>
              <a:spcBef>
                <a:spcPts val="0"/>
              </a:spcBef>
              <a:defRPr sz="3000" cap="all" spc="800" baseline="0">
                <a:solidFill>
                  <a:schemeClr val="accent1"/>
                </a:solidFill>
              </a:defRPr>
            </a:lvl1pPr>
          </a:lstStyle>
          <a:p>
            <a:pPr lvl="0"/>
            <a:r>
              <a:rPr lang="en-US"/>
              <a:t>CLICK TO INSERT TITLE</a:t>
            </a:r>
          </a:p>
        </p:txBody>
      </p:sp>
      <p:sp>
        <p:nvSpPr>
          <p:cNvPr id="37" name="Text Placeholder 7">
            <a:extLst>
              <a:ext uri="{FF2B5EF4-FFF2-40B4-BE49-F238E27FC236}">
                <a16:creationId xmlns:a16="http://schemas.microsoft.com/office/drawing/2014/main" id="{F9E2157D-6D46-4968-85FF-B09A395AB528}"/>
              </a:ext>
            </a:extLst>
          </p:cNvPr>
          <p:cNvSpPr>
            <a:spLocks noGrp="1"/>
          </p:cNvSpPr>
          <p:nvPr>
            <p:ph type="body" sz="quarter" idx="11" hasCustomPrompt="1"/>
          </p:nvPr>
        </p:nvSpPr>
        <p:spPr>
          <a:xfrm>
            <a:off x="1792474" y="1580228"/>
            <a:ext cx="5239630" cy="555448"/>
          </a:xfrm>
          <a:prstGeom prst="rect">
            <a:avLst/>
          </a:prstGeom>
        </p:spPr>
        <p:txBody>
          <a:bodyPr anchor="ctr">
            <a:noAutofit/>
          </a:bodyPr>
          <a:lstStyle>
            <a:lvl1pPr>
              <a:lnSpc>
                <a:spcPct val="100000"/>
              </a:lnSpc>
              <a:spcBef>
                <a:spcPts val="0"/>
              </a:spcBef>
              <a:spcAft>
                <a:spcPts val="0"/>
              </a:spcAft>
              <a:defRPr sz="1800" b="0" spc="-110" baseline="0">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0" name="Text Placeholder 7">
            <a:extLst>
              <a:ext uri="{FF2B5EF4-FFF2-40B4-BE49-F238E27FC236}">
                <a16:creationId xmlns:a16="http://schemas.microsoft.com/office/drawing/2014/main" id="{16129A91-070F-4837-ABDB-188EE3F2146F}"/>
              </a:ext>
            </a:extLst>
          </p:cNvPr>
          <p:cNvSpPr>
            <a:spLocks noGrp="1"/>
          </p:cNvSpPr>
          <p:nvPr>
            <p:ph type="body" sz="quarter" idx="20" hasCustomPrompt="1"/>
          </p:nvPr>
        </p:nvSpPr>
        <p:spPr>
          <a:xfrm>
            <a:off x="1792474" y="2219592"/>
            <a:ext cx="5239630" cy="864096"/>
          </a:xfrm>
          <a:prstGeom prst="rect">
            <a:avLst/>
          </a:prstGeom>
        </p:spPr>
        <p:txBody>
          <a:bodyPr anchor="t">
            <a:noAutofit/>
          </a:bodyPr>
          <a:lstStyle>
            <a:lvl1pPr marL="180975" indent="-180975">
              <a:lnSpc>
                <a:spcPct val="100000"/>
              </a:lnSpc>
              <a:spcBef>
                <a:spcPts val="0"/>
              </a:spcBef>
              <a:spcAft>
                <a:spcPts val="300"/>
              </a:spcAft>
              <a:buClr>
                <a:schemeClr val="accent1"/>
              </a:buClr>
              <a:buFont typeface="Wingdings" panose="05000000000000000000" pitchFamily="2" charset="2"/>
              <a:buChar char="§"/>
              <a:defRPr sz="1400" spc="-110" baseline="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1" name="Text Placeholder 7">
            <a:extLst>
              <a:ext uri="{FF2B5EF4-FFF2-40B4-BE49-F238E27FC236}">
                <a16:creationId xmlns:a16="http://schemas.microsoft.com/office/drawing/2014/main" id="{60390DE9-0E12-4424-B6B2-E8678CCD770C}"/>
              </a:ext>
            </a:extLst>
          </p:cNvPr>
          <p:cNvSpPr>
            <a:spLocks noGrp="1"/>
          </p:cNvSpPr>
          <p:nvPr>
            <p:ph type="body" sz="quarter" idx="21" hasCustomPrompt="1"/>
          </p:nvPr>
        </p:nvSpPr>
        <p:spPr>
          <a:xfrm>
            <a:off x="1792474" y="3167604"/>
            <a:ext cx="5239630" cy="555448"/>
          </a:xfrm>
          <a:prstGeom prst="rect">
            <a:avLst/>
          </a:prstGeom>
        </p:spPr>
        <p:txBody>
          <a:bodyPr anchor="ctr">
            <a:noAutofit/>
          </a:bodyPr>
          <a:lstStyle>
            <a:lvl1pPr>
              <a:lnSpc>
                <a:spcPct val="100000"/>
              </a:lnSpc>
              <a:spcBef>
                <a:spcPts val="0"/>
              </a:spcBef>
              <a:spcAft>
                <a:spcPts val="0"/>
              </a:spcAft>
              <a:defRPr sz="1800" b="0" spc="-110" baseline="0">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6" name="Text Placeholder 7">
            <a:extLst>
              <a:ext uri="{FF2B5EF4-FFF2-40B4-BE49-F238E27FC236}">
                <a16:creationId xmlns:a16="http://schemas.microsoft.com/office/drawing/2014/main" id="{E72FC0F2-39DF-43CE-AB14-D3643D73D7B8}"/>
              </a:ext>
            </a:extLst>
          </p:cNvPr>
          <p:cNvSpPr>
            <a:spLocks noGrp="1"/>
          </p:cNvSpPr>
          <p:nvPr>
            <p:ph type="body" sz="quarter" idx="23" hasCustomPrompt="1"/>
          </p:nvPr>
        </p:nvSpPr>
        <p:spPr>
          <a:xfrm>
            <a:off x="1792474" y="3806968"/>
            <a:ext cx="5239630" cy="864096"/>
          </a:xfrm>
          <a:prstGeom prst="rect">
            <a:avLst/>
          </a:prstGeom>
        </p:spPr>
        <p:txBody>
          <a:bodyPr anchor="t">
            <a:noAutofit/>
          </a:bodyPr>
          <a:lstStyle>
            <a:lvl1pPr marL="180975" indent="-180975">
              <a:lnSpc>
                <a:spcPct val="100000"/>
              </a:lnSpc>
              <a:spcBef>
                <a:spcPts val="0"/>
              </a:spcBef>
              <a:spcAft>
                <a:spcPts val="300"/>
              </a:spcAft>
              <a:buClr>
                <a:schemeClr val="accent1"/>
              </a:buClr>
              <a:buFont typeface="Wingdings" panose="05000000000000000000" pitchFamily="2" charset="2"/>
              <a:buChar char="§"/>
              <a:defRPr sz="1400" spc="-110" baseline="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7" name="Text Placeholder 7">
            <a:extLst>
              <a:ext uri="{FF2B5EF4-FFF2-40B4-BE49-F238E27FC236}">
                <a16:creationId xmlns:a16="http://schemas.microsoft.com/office/drawing/2014/main" id="{4F773354-68F2-4278-9B45-BA7961533277}"/>
              </a:ext>
            </a:extLst>
          </p:cNvPr>
          <p:cNvSpPr>
            <a:spLocks noGrp="1"/>
          </p:cNvSpPr>
          <p:nvPr>
            <p:ph type="body" sz="quarter" idx="24" hasCustomPrompt="1"/>
          </p:nvPr>
        </p:nvSpPr>
        <p:spPr>
          <a:xfrm>
            <a:off x="1792474" y="4761073"/>
            <a:ext cx="5239630" cy="555448"/>
          </a:xfrm>
          <a:prstGeom prst="rect">
            <a:avLst/>
          </a:prstGeom>
        </p:spPr>
        <p:txBody>
          <a:bodyPr anchor="ctr">
            <a:noAutofit/>
          </a:bodyPr>
          <a:lstStyle>
            <a:lvl1pPr>
              <a:lnSpc>
                <a:spcPct val="100000"/>
              </a:lnSpc>
              <a:spcBef>
                <a:spcPts val="0"/>
              </a:spcBef>
              <a:spcAft>
                <a:spcPts val="0"/>
              </a:spcAft>
              <a:defRPr sz="1800" b="0" spc="-110" baseline="0">
                <a:solidFill>
                  <a:schemeClr val="accent6"/>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52" name="Text Placeholder 7">
            <a:extLst>
              <a:ext uri="{FF2B5EF4-FFF2-40B4-BE49-F238E27FC236}">
                <a16:creationId xmlns:a16="http://schemas.microsoft.com/office/drawing/2014/main" id="{BB2FA52D-D355-474E-B577-45420828F25E}"/>
              </a:ext>
            </a:extLst>
          </p:cNvPr>
          <p:cNvSpPr>
            <a:spLocks noGrp="1"/>
          </p:cNvSpPr>
          <p:nvPr>
            <p:ph type="body" sz="quarter" idx="26" hasCustomPrompt="1"/>
          </p:nvPr>
        </p:nvSpPr>
        <p:spPr>
          <a:xfrm>
            <a:off x="1792474" y="5400437"/>
            <a:ext cx="5239630" cy="864096"/>
          </a:xfrm>
          <a:prstGeom prst="rect">
            <a:avLst/>
          </a:prstGeom>
        </p:spPr>
        <p:txBody>
          <a:bodyPr anchor="t">
            <a:noAutofit/>
          </a:bodyPr>
          <a:lstStyle>
            <a:lvl1pPr marL="180975" indent="-180975">
              <a:lnSpc>
                <a:spcPct val="100000"/>
              </a:lnSpc>
              <a:spcBef>
                <a:spcPts val="0"/>
              </a:spcBef>
              <a:spcAft>
                <a:spcPts val="300"/>
              </a:spcAft>
              <a:buClr>
                <a:schemeClr val="accent1"/>
              </a:buClr>
              <a:buFont typeface="Wingdings" panose="05000000000000000000" pitchFamily="2" charset="2"/>
              <a:buChar char="§"/>
              <a:defRPr sz="1400" spc="-110" baseline="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878629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07726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1"/>
            </p:custDataLst>
            <p:extLst>
              <p:ext uri="{D42A27DB-BD31-4B8C-83A1-F6EECF244321}">
                <p14:modId xmlns:p14="http://schemas.microsoft.com/office/powerpoint/2010/main" val="223806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a:extLst>
                          <a:ext uri="{FF2B5EF4-FFF2-40B4-BE49-F238E27FC236}">
                            <a16:creationId xmlns:a16="http://schemas.microsoft.com/office/drawing/2014/main" id="{46113531-7598-4F63-8B27-CF211DCF83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latin typeface="Verdana" panose="020B0604030504040204" pitchFamily="34" charset="0"/>
                <a:ea typeface="Verdana" panose="020B0604030504040204" pitchFamily="34" charset="0"/>
                <a:sym typeface="Verdana" panose="020B0604030504040204" pitchFamily="34" charset="0"/>
              </a:defRPr>
            </a:lvl1pPr>
          </a:lstStyle>
          <a:p>
            <a:r>
              <a:rPr lang="en-US"/>
              <a:t>Agenda</a:t>
            </a:r>
            <a:endParaRPr lang="de-DE"/>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p:spPr>
        <p:txBody>
          <a:bodyPr>
            <a:normAutofit/>
          </a:bodyPr>
          <a:lstStyle>
            <a:lvl1pPr>
              <a:spcBef>
                <a:spcPts val="0"/>
              </a:spcBef>
              <a:defRPr sz="2400">
                <a:latin typeface="Verdana" panose="020B0604030504040204" pitchFamily="34" charset="0"/>
                <a:ea typeface="Verdana" panose="020B0604030504040204" pitchFamily="34" charset="0"/>
                <a:sym typeface="Verdana" panose="020B0604030504040204" pitchFamily="34" charset="0"/>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1794570" y="2221388"/>
            <a:ext cx="5813598" cy="369332"/>
          </a:xfrm>
        </p:spPr>
        <p:txBody>
          <a:bodyPr>
            <a:normAutofit/>
          </a:bodyPr>
          <a:lstStyle>
            <a:lvl1pPr>
              <a:spcBef>
                <a:spcPts val="0"/>
              </a:spcBef>
              <a:defRPr sz="2400">
                <a:latin typeface="Verdana" panose="020B0604030504040204" pitchFamily="34" charset="0"/>
                <a:ea typeface="Verdana" panose="020B0604030504040204" pitchFamily="34" charset="0"/>
                <a:sym typeface="Verdana" panose="020B0604030504040204" pitchFamily="34" charset="0"/>
              </a:defRPr>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1794570" y="2814001"/>
            <a:ext cx="5813598" cy="369332"/>
          </a:xfrm>
        </p:spPr>
        <p:txBody>
          <a:bodyPr>
            <a:normAutofit/>
          </a:bodyPr>
          <a:lstStyle>
            <a:lvl1pPr>
              <a:spcBef>
                <a:spcPts val="0"/>
              </a:spcBef>
              <a:defRPr sz="2400">
                <a:latin typeface="Verdana" panose="020B0604030504040204" pitchFamily="34" charset="0"/>
                <a:ea typeface="Verdana" panose="020B0604030504040204" pitchFamily="34" charset="0"/>
                <a:sym typeface="Verdana" panose="020B0604030504040204" pitchFamily="34" charset="0"/>
              </a:defRPr>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p:spPr>
        <p:txBody>
          <a:bodyPr vert="horz" wrap="none" lIns="0" tIns="0" rIns="0" bIns="0" rtlCol="0">
            <a:normAutofit/>
          </a:bodyPr>
          <a:lstStyle>
            <a:lvl1pPr algn="r">
              <a:defRPr lang="de-DE" sz="2400" b="1" dirty="0">
                <a:solidFill>
                  <a:schemeClr val="accent2"/>
                </a:solidFill>
                <a:latin typeface="Verdana" panose="020B0604030504040204" pitchFamily="34" charset="0"/>
                <a:ea typeface="Verdana" panose="020B0604030504040204" pitchFamily="34" charset="0"/>
                <a:sym typeface="Verdana" panose="020B0604030504040204" pitchFamily="34" charset="0"/>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p:spPr>
        <p:txBody>
          <a:bodyPr vert="horz" wrap="none" lIns="0" tIns="0" rIns="0" bIns="0" rtlCol="0">
            <a:normAutofit/>
          </a:bodyPr>
          <a:lstStyle>
            <a:lvl1pPr algn="r">
              <a:defRPr lang="de-DE" sz="2400" b="1" dirty="0">
                <a:solidFill>
                  <a:schemeClr val="accent2"/>
                </a:solidFill>
                <a:latin typeface="Verdana" panose="020B0604030504040204" pitchFamily="34" charset="0"/>
                <a:ea typeface="Verdana" panose="020B0604030504040204" pitchFamily="34" charset="0"/>
                <a:sym typeface="Verdana" panose="020B0604030504040204" pitchFamily="34" charset="0"/>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p:spPr>
        <p:txBody>
          <a:bodyPr vert="horz" wrap="none" lIns="0" tIns="0" rIns="0" bIns="0" rtlCol="0">
            <a:normAutofit/>
          </a:bodyPr>
          <a:lstStyle>
            <a:lvl1pPr algn="r">
              <a:defRPr lang="de-DE" sz="2400" b="1" dirty="0">
                <a:solidFill>
                  <a:schemeClr val="accent2"/>
                </a:solidFill>
                <a:latin typeface="Verdana" panose="020B0604030504040204" pitchFamily="34" charset="0"/>
                <a:ea typeface="Verdana" panose="020B0604030504040204" pitchFamily="34" charset="0"/>
                <a:sym typeface="Verdana" panose="020B0604030504040204" pitchFamily="34" charset="0"/>
              </a:defRPr>
            </a:lvl1pPr>
          </a:lstStyle>
          <a:p>
            <a:pPr lvl="0">
              <a:spcBef>
                <a:spcPts val="0"/>
              </a:spcBef>
            </a:pPr>
            <a:r>
              <a:rPr lang="de-DE"/>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11501102" y="171573"/>
            <a:ext cx="419436" cy="388087"/>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sym typeface="Verdana" panose="020B0604030504040204" pitchFamily="34" charset="0"/>
              </a:endParaRPr>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sym typeface="Verdana" panose="020B0604030504040204" pitchFamily="34" charset="0"/>
              </a:endParaRPr>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p:spPr>
        <p:txBody>
          <a:bodyPr>
            <a:normAutofit/>
          </a:bodyPr>
          <a:lstStyle>
            <a:lvl1pPr>
              <a:spcBef>
                <a:spcPts val="0"/>
              </a:spcBef>
              <a:defRPr sz="2400">
                <a:latin typeface="Verdana" panose="020B0604030504040204" pitchFamily="34" charset="0"/>
                <a:ea typeface="Verdana" panose="020B0604030504040204" pitchFamily="34" charset="0"/>
                <a:sym typeface="Verdana" panose="020B0604030504040204" pitchFamily="34" charset="0"/>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1794570" y="3999227"/>
            <a:ext cx="5813598" cy="369332"/>
          </a:xfrm>
        </p:spPr>
        <p:txBody>
          <a:bodyPr>
            <a:normAutofit/>
          </a:bodyPr>
          <a:lstStyle>
            <a:lvl1pPr>
              <a:spcBef>
                <a:spcPts val="0"/>
              </a:spcBef>
              <a:defRPr sz="2400">
                <a:latin typeface="Verdana" panose="020B0604030504040204" pitchFamily="34" charset="0"/>
                <a:ea typeface="Verdana" panose="020B0604030504040204" pitchFamily="34" charset="0"/>
                <a:sym typeface="Verdana" panose="020B0604030504040204" pitchFamily="34" charset="0"/>
              </a:defRPr>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1794570" y="4591841"/>
            <a:ext cx="5813598" cy="369332"/>
          </a:xfrm>
        </p:spPr>
        <p:txBody>
          <a:bodyPr>
            <a:normAutofit/>
          </a:bodyPr>
          <a:lstStyle>
            <a:lvl1pPr>
              <a:spcBef>
                <a:spcPts val="0"/>
              </a:spcBef>
              <a:defRPr sz="2400">
                <a:latin typeface="Verdana" panose="020B0604030504040204" pitchFamily="34" charset="0"/>
                <a:ea typeface="Verdana" panose="020B0604030504040204" pitchFamily="34" charset="0"/>
                <a:sym typeface="Verdana" panose="020B0604030504040204" pitchFamily="34" charset="0"/>
              </a:defRPr>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p:spPr>
        <p:txBody>
          <a:bodyPr vert="horz" wrap="none" lIns="0" tIns="0" rIns="0" bIns="0" rtlCol="0">
            <a:normAutofit/>
          </a:bodyPr>
          <a:lstStyle>
            <a:lvl1pPr algn="r">
              <a:defRPr lang="de-DE" sz="2400" b="1" dirty="0">
                <a:solidFill>
                  <a:schemeClr val="accent2"/>
                </a:solidFill>
                <a:latin typeface="Verdana" panose="020B0604030504040204" pitchFamily="34" charset="0"/>
                <a:ea typeface="Verdana" panose="020B0604030504040204" pitchFamily="34" charset="0"/>
                <a:sym typeface="Verdana" panose="020B0604030504040204" pitchFamily="34" charset="0"/>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p:spPr>
        <p:txBody>
          <a:bodyPr vert="horz" wrap="none" lIns="0" tIns="0" rIns="0" bIns="0" rtlCol="0">
            <a:normAutofit/>
          </a:bodyPr>
          <a:lstStyle>
            <a:lvl1pPr algn="r">
              <a:defRPr lang="de-DE" sz="2400" b="1" dirty="0">
                <a:solidFill>
                  <a:schemeClr val="accent2"/>
                </a:solidFill>
                <a:latin typeface="Verdana" panose="020B0604030504040204" pitchFamily="34" charset="0"/>
                <a:ea typeface="Verdana" panose="020B0604030504040204" pitchFamily="34" charset="0"/>
                <a:sym typeface="Verdana" panose="020B0604030504040204" pitchFamily="34" charset="0"/>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p:spPr>
        <p:txBody>
          <a:bodyPr vert="horz" wrap="none" lIns="0" tIns="0" rIns="0" bIns="0" rtlCol="0">
            <a:normAutofit/>
          </a:bodyPr>
          <a:lstStyle>
            <a:lvl1pPr algn="r">
              <a:defRPr lang="de-DE" sz="2400" b="1" dirty="0">
                <a:solidFill>
                  <a:schemeClr val="accent2"/>
                </a:solidFill>
                <a:latin typeface="Verdana" panose="020B0604030504040204" pitchFamily="34" charset="0"/>
                <a:ea typeface="Verdana" panose="020B0604030504040204" pitchFamily="34" charset="0"/>
                <a:sym typeface="Verdana" panose="020B0604030504040204" pitchFamily="34" charset="0"/>
              </a:defRPr>
            </a:lvl1pPr>
          </a:lstStyle>
          <a:p>
            <a:pPr lvl="0">
              <a:spcBef>
                <a:spcPts val="0"/>
              </a:spcBef>
            </a:pPr>
            <a:r>
              <a:rPr lang="de-DE"/>
              <a:t>0x</a:t>
            </a:r>
          </a:p>
        </p:txBody>
      </p:sp>
      <p:sp>
        <p:nvSpPr>
          <p:cNvPr id="33" name="Retângulo 43">
            <a:extLst>
              <a:ext uri="{FF2B5EF4-FFF2-40B4-BE49-F238E27FC236}">
                <a16:creationId xmlns:a16="http://schemas.microsoft.com/office/drawing/2014/main" id="{43C09F30-6C55-4D78-BA1D-D6972FB2CB5E}"/>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35" name="Retângulo 43">
            <a:extLst>
              <a:ext uri="{FF2B5EF4-FFF2-40B4-BE49-F238E27FC236}">
                <a16:creationId xmlns:a16="http://schemas.microsoft.com/office/drawing/2014/main" id="{56A271B4-BD52-49A4-94B8-F88455C57DC1}"/>
              </a:ext>
            </a:extLst>
          </p:cNvPr>
          <p:cNvSpPr/>
          <p:nvPr userDrawn="1"/>
        </p:nvSpPr>
        <p:spPr>
          <a:xfrm>
            <a:off x="9560326" y="6555758"/>
            <a:ext cx="2223686" cy="219456"/>
          </a:xfrm>
          <a:prstGeom prst="rect">
            <a:avLst/>
          </a:prstGeom>
        </p:spPr>
        <p:txBody>
          <a:bodyPr wrap="none" lIns="0" tIns="0" rIns="0" bIns="0" anchor="ctr">
            <a:noAutofit/>
          </a:bodyPr>
          <a:lstStyle/>
          <a:p>
            <a:pPr algn="l">
              <a:lnSpc>
                <a:spcPct val="100000"/>
              </a:lnSpc>
            </a:pPr>
            <a:r>
              <a:rPr lang="en-US" sz="800">
                <a:solidFill>
                  <a:schemeClr val="bg1">
                    <a:lumMod val="65000"/>
                  </a:schemeClr>
                </a:solidFill>
                <a:cs typeface="Arial" panose="020B0604020202020204" pitchFamily="34" charset="0"/>
              </a:rPr>
              <a:t>© 2020 Capgemini. All rights reserved.</a:t>
            </a:r>
          </a:p>
        </p:txBody>
      </p:sp>
    </p:spTree>
    <p:extLst>
      <p:ext uri="{BB962C8B-B14F-4D97-AF65-F5344CB8AC3E}">
        <p14:creationId xmlns:p14="http://schemas.microsoft.com/office/powerpoint/2010/main" val="5290729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a:p>
        </p:txBody>
      </p:sp>
      <p:sp>
        <p:nvSpPr>
          <p:cNvPr id="10" name="Date Placeholder 9"/>
          <p:cNvSpPr>
            <a:spLocks noGrp="1"/>
          </p:cNvSpPr>
          <p:nvPr>
            <p:ph type="dt" sz="half" idx="10"/>
          </p:nvPr>
        </p:nvSpPr>
        <p:spPr>
          <a:xfrm>
            <a:off x="838200" y="6356350"/>
            <a:ext cx="2743200" cy="365125"/>
          </a:xfrm>
          <a:prstGeom prst="rect">
            <a:avLst/>
          </a:prstGeom>
        </p:spPr>
        <p:txBody>
          <a:bodyPr/>
          <a:lstStyle/>
          <a:p>
            <a:pPr>
              <a:lnSpc>
                <a:spcPct val="85000"/>
              </a:lnSpc>
            </a:pPr>
            <a:endParaRPr lang="en-US"/>
          </a:p>
        </p:txBody>
      </p:sp>
      <p:sp>
        <p:nvSpPr>
          <p:cNvPr id="11" name="Footer Placeholder 10"/>
          <p:cNvSpPr>
            <a:spLocks noGrp="1"/>
          </p:cNvSpPr>
          <p:nvPr>
            <p:ph type="ftr" sz="quarter" idx="11"/>
          </p:nvPr>
        </p:nvSpPr>
        <p:spPr>
          <a:xfrm>
            <a:off x="4038600" y="6356350"/>
            <a:ext cx="4114800" cy="365125"/>
          </a:xfrm>
          <a:prstGeom prst="rect">
            <a:avLst/>
          </a:prstGeom>
        </p:spPr>
        <p:txBody>
          <a:bodyPr/>
          <a:lstStyle/>
          <a:p>
            <a:r>
              <a:rPr lang="en-US">
                <a:solidFill>
                  <a:srgbClr val="EDEDED">
                    <a:lumMod val="50000"/>
                  </a:srgbClr>
                </a:solidFill>
              </a:rPr>
              <a:t>© 2019 Capgemini. All rights reserved.</a:t>
            </a:r>
          </a:p>
        </p:txBody>
      </p:sp>
      <p:sp>
        <p:nvSpPr>
          <p:cNvPr id="12" name="Slide Number Placeholder 11"/>
          <p:cNvSpPr>
            <a:spLocks noGrp="1"/>
          </p:cNvSpPr>
          <p:nvPr>
            <p:ph type="sldNum" sz="quarter" idx="12"/>
          </p:nvPr>
        </p:nvSpPr>
        <p:spPr>
          <a:xfrm>
            <a:off x="8610600" y="6356350"/>
            <a:ext cx="2743200" cy="365125"/>
          </a:xfrm>
          <a:prstGeom prst="rect">
            <a:avLst/>
          </a:prstGeom>
        </p:spPr>
        <p:txBody>
          <a:bodyPr/>
          <a:lstStyle/>
          <a:p>
            <a:fld id="{DD205EFF-948D-4AF6-B54C-65639188FB5F}" type="slidenum">
              <a:rPr lang="en-US">
                <a:solidFill>
                  <a:srgbClr val="EDEDED">
                    <a:lumMod val="50000"/>
                  </a:srgbClr>
                </a:solidFill>
              </a:rPr>
              <a:pPr/>
              <a:t>‹#›</a:t>
            </a:fld>
            <a:endParaRPr lang="en-US">
              <a:solidFill>
                <a:srgbClr val="EDEDED">
                  <a:lumMod val="50000"/>
                </a:srgbClr>
              </a:solidFill>
            </a:endParaRPr>
          </a:p>
        </p:txBody>
      </p:sp>
    </p:spTree>
    <p:extLst>
      <p:ext uri="{BB962C8B-B14F-4D97-AF65-F5344CB8AC3E}">
        <p14:creationId xmlns:p14="http://schemas.microsoft.com/office/powerpoint/2010/main" val="6773724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a:biLevel thresh="25000"/>
            <a:extLst>
              <a:ext uri="{96DAC541-7B7A-43D3-8B79-37D633B846F1}">
                <asvg:svgBlip xmlns:asvg="http://schemas.microsoft.com/office/drawing/2016/SVG/main" r:embed="rId4"/>
              </a:ext>
            </a:extLst>
          </a:blip>
          <a:stretch>
            <a:fillRect/>
          </a:stretch>
        </p:blipFill>
        <p:spPr>
          <a:xfrm>
            <a:off x="443598" y="436881"/>
            <a:ext cx="2286000" cy="510013"/>
          </a:xfrm>
          <a:prstGeom prst="rect">
            <a:avLst/>
          </a:prstGeom>
        </p:spPr>
      </p:pic>
      <p:sp>
        <p:nvSpPr>
          <p:cNvPr id="13" name="Freeform 25"/>
          <p:cNvSpPr>
            <a:spLocks/>
          </p:cNvSpPr>
          <p:nvPr userDrawn="1"/>
        </p:nvSpPr>
        <p:spPr bwMode="auto">
          <a:xfrm flipH="1">
            <a:off x="6939280" y="1631614"/>
            <a:ext cx="5252720" cy="5226386"/>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8" y="297"/>
                  <a:pt x="0" y="231"/>
                </a:cubicBezTo>
                <a:cubicBezTo>
                  <a:pt x="0" y="1425"/>
                  <a:pt x="0" y="1425"/>
                  <a:pt x="0" y="1425"/>
                </a:cubicBezTo>
                <a:lnTo>
                  <a:pt x="909" y="14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itle 1"/>
          <p:cNvSpPr>
            <a:spLocks noGrp="1"/>
          </p:cNvSpPr>
          <p:nvPr>
            <p:ph type="ctrTitle" hasCustomPrompt="1"/>
          </p:nvPr>
        </p:nvSpPr>
        <p:spPr>
          <a:xfrm>
            <a:off x="8209280" y="4194493"/>
            <a:ext cx="35747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ct val="100000"/>
              </a:lnSpc>
              <a:defRPr lang="en-US" sz="3600" b="1" dirty="0">
                <a:solidFill>
                  <a:schemeClr val="bg1"/>
                </a:solidFill>
              </a:defRPr>
            </a:lvl1pPr>
          </a:lstStyle>
          <a:p>
            <a:pPr marL="0" lvl="0"/>
            <a:r>
              <a:rPr lang="en-US"/>
              <a:t>Click to insert title</a:t>
            </a:r>
          </a:p>
        </p:txBody>
      </p:sp>
      <p:sp>
        <p:nvSpPr>
          <p:cNvPr id="12" name="Subtitle 2"/>
          <p:cNvSpPr>
            <a:spLocks noGrp="1"/>
          </p:cNvSpPr>
          <p:nvPr>
            <p:ph type="subTitle" idx="1" hasCustomPrompt="1"/>
          </p:nvPr>
        </p:nvSpPr>
        <p:spPr>
          <a:xfrm>
            <a:off x="8209280" y="5058093"/>
            <a:ext cx="3574732" cy="253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a:t>
            </a:r>
          </a:p>
        </p:txBody>
      </p:sp>
    </p:spTree>
    <p:extLst>
      <p:ext uri="{BB962C8B-B14F-4D97-AF65-F5344CB8AC3E}">
        <p14:creationId xmlns:p14="http://schemas.microsoft.com/office/powerpoint/2010/main" val="3918720978"/>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6067816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40234"/>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219709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514122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29826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40829989"/>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a:t>Click to add title</a:t>
            </a:r>
            <a:endParaRPr lang="pt-PT"/>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03817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a:t>Click to add title</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836772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105761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895" t="584" r="28388" b="-584"/>
          <a:stretch/>
        </p:blipFill>
        <p:spPr>
          <a:xfrm>
            <a:off x="6096000" y="0"/>
            <a:ext cx="609600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1371600"/>
            <a:ext cx="5518022" cy="507274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endParaRPr lang="pt-PT"/>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7" y="114513"/>
            <a:ext cx="5518023"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a:t>Click to insert title</a:t>
            </a:r>
            <a:endParaRPr lang="pt-PT"/>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545952637"/>
      </p:ext>
    </p:extLst>
  </p:cSld>
  <p:clrMapOvr>
    <a:masterClrMapping/>
  </p:clrMapOvr>
  <p:extLst>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7698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a:t>Click to edit Master title style</a:t>
            </a:r>
            <a:endParaRPr lang="en-GB"/>
          </a:p>
        </p:txBody>
      </p:sp>
      <p:sp>
        <p:nvSpPr>
          <p:cNvPr id="6" name="Retângulo 43">
            <a:extLst>
              <a:ext uri="{FF2B5EF4-FFF2-40B4-BE49-F238E27FC236}">
                <a16:creationId xmlns:a16="http://schemas.microsoft.com/office/drawing/2014/main" id="{9A8BE18E-6B02-49FC-9EDA-027B71177C98}"/>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Capgemini  2019. All rights reserved </a:t>
            </a:r>
            <a:r>
              <a:rPr lang="en-US">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a:extLst>
                <a:ext uri="{FF2B5EF4-FFF2-40B4-BE49-F238E27FC236}">
                  <a16:creationId xmlns:a16="http://schemas.microsoft.com/office/drawing/2014/main" id="{AFE481B4-0A2D-4647-9456-87056E856D32}"/>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437818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29302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2325658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5890536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48647346"/>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4424381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410638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6444239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841771"/>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err="1"/>
              <a:t>xx</a:t>
            </a:r>
            <a:r>
              <a:rPr lang="pt-PT"/>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err="1"/>
              <a:t>xx</a:t>
            </a:r>
            <a:r>
              <a:rPr lang="pt-PT"/>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err="1"/>
              <a:t>xx</a:t>
            </a:r>
            <a:r>
              <a:rPr lang="pt-PT"/>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2801905"/>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165883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6647998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5710906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a:solidFill>
                  <a:schemeClr val="accent1"/>
                </a:solidFill>
              </a:rPr>
              <a:t>the Collaborative Business Experience™</a:t>
            </a:r>
            <a:r>
              <a:rPr lang="en-US" sz="900">
                <a:solidFill>
                  <a:schemeClr val="tx1"/>
                </a:solidFill>
              </a:rPr>
              <a:t>, and draws on </a:t>
            </a:r>
            <a:r>
              <a:rPr lang="en-US" sz="900">
                <a:solidFill>
                  <a:schemeClr val="accent1"/>
                </a:solidFill>
              </a:rPr>
              <a:t>Rightshore</a:t>
            </a:r>
            <a:r>
              <a:rPr lang="en-US" sz="900" baseline="30000">
                <a:solidFill>
                  <a:schemeClr val="accent1"/>
                </a:solidFill>
              </a:rPr>
              <a:t>®</a:t>
            </a:r>
            <a:r>
              <a:rPr lang="en-US" sz="90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0113013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2676692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3147330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30150468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068304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1541719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11" name="Footer Placeholder 10"/>
          <p:cNvSpPr>
            <a:spLocks noGrp="1"/>
          </p:cNvSpPr>
          <p:nvPr>
            <p:ph type="ftr" sz="quarter" idx="11"/>
          </p:nvPr>
        </p:nvSpPr>
        <p:spPr/>
        <p:txBody>
          <a:bodyPr/>
          <a:lstStyle/>
          <a:p>
            <a:endParaRPr lang="en-US" dirty="0"/>
          </a:p>
        </p:txBody>
      </p:sp>
      <p:sp>
        <p:nvSpPr>
          <p:cNvPr id="12" name="Slide Number Placeholder 11"/>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620369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1485053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774260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2776276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en-US"/>
              <a:t>Click to edit Master title style</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5670781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9" name="Footer Placeholder 8"/>
          <p:cNvSpPr>
            <a:spLocks noGrp="1"/>
          </p:cNvSpPr>
          <p:nvPr>
            <p:ph type="ftr" sz="quarter" idx="11"/>
          </p:nvPr>
        </p:nvSpPr>
        <p:spPr>
          <a:xfrm>
            <a:off x="3499101" y="6356350"/>
            <a:ext cx="5911517" cy="365125"/>
          </a:xfrm>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34451463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7185965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586B75A-687E-405C-8A0B-8D00578BA2C3}" type="datetimeFigureOut">
              <a:rPr lang="en-US" dirty="0"/>
              <a:pPr/>
              <a:t>9/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6864747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2644466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98338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peaker Slide">
    <p:spTree>
      <p:nvGrpSpPr>
        <p:cNvPr id="1" name=""/>
        <p:cNvGrpSpPr/>
        <p:nvPr/>
      </p:nvGrpSpPr>
      <p:grpSpPr>
        <a:xfrm>
          <a:off x="0" y="0"/>
          <a:ext cx="0" cy="0"/>
          <a:chOff x="0" y="0"/>
          <a:chExt cx="0" cy="0"/>
        </a:xfrm>
      </p:grpSpPr>
      <p:sp>
        <p:nvSpPr>
          <p:cNvPr id="36" name="Parallelogram 53">
            <a:extLst>
              <a:ext uri="{FF2B5EF4-FFF2-40B4-BE49-F238E27FC236}">
                <a16:creationId xmlns:a16="http://schemas.microsoft.com/office/drawing/2014/main" id="{D5A75548-FCF0-634D-8D10-19488C75DFF0}"/>
              </a:ext>
            </a:extLst>
          </p:cNvPr>
          <p:cNvSpPr/>
          <p:nvPr userDrawn="1"/>
        </p:nvSpPr>
        <p:spPr>
          <a:xfrm rot="10800000" flipH="1" flipV="1">
            <a:off x="5596690" y="-34073"/>
            <a:ext cx="6633400" cy="6944936"/>
          </a:xfrm>
          <a:custGeom>
            <a:avLst/>
            <a:gdLst>
              <a:gd name="connsiteX0" fmla="*/ 0 w 7211832"/>
              <a:gd name="connsiteY0" fmla="*/ 5143500 h 5143500"/>
              <a:gd name="connsiteX1" fmla="*/ 2747195 w 7211832"/>
              <a:gd name="connsiteY1" fmla="*/ 0 h 5143500"/>
              <a:gd name="connsiteX2" fmla="*/ 7211832 w 7211832"/>
              <a:gd name="connsiteY2" fmla="*/ 0 h 5143500"/>
              <a:gd name="connsiteX3" fmla="*/ 4464637 w 7211832"/>
              <a:gd name="connsiteY3" fmla="*/ 5143500 h 5143500"/>
              <a:gd name="connsiteX4" fmla="*/ 0 w 7211832"/>
              <a:gd name="connsiteY4" fmla="*/ 5143500 h 5143500"/>
              <a:gd name="connsiteX0" fmla="*/ 0 w 5249218"/>
              <a:gd name="connsiteY0" fmla="*/ 5143500 h 5143500"/>
              <a:gd name="connsiteX1" fmla="*/ 2747195 w 5249218"/>
              <a:gd name="connsiteY1" fmla="*/ 0 h 5143500"/>
              <a:gd name="connsiteX2" fmla="*/ 5249218 w 5249218"/>
              <a:gd name="connsiteY2" fmla="*/ 0 h 5143500"/>
              <a:gd name="connsiteX3" fmla="*/ 4464637 w 5249218"/>
              <a:gd name="connsiteY3" fmla="*/ 5143500 h 5143500"/>
              <a:gd name="connsiteX4" fmla="*/ 0 w 5249218"/>
              <a:gd name="connsiteY4" fmla="*/ 5143500 h 5143500"/>
              <a:gd name="connsiteX0" fmla="*/ 0 w 5472242"/>
              <a:gd name="connsiteY0" fmla="*/ 5143500 h 5143500"/>
              <a:gd name="connsiteX1" fmla="*/ 2747195 w 5472242"/>
              <a:gd name="connsiteY1" fmla="*/ 0 h 5143500"/>
              <a:gd name="connsiteX2" fmla="*/ 5472242 w 5472242"/>
              <a:gd name="connsiteY2" fmla="*/ 7434 h 5143500"/>
              <a:gd name="connsiteX3" fmla="*/ 4464637 w 5472242"/>
              <a:gd name="connsiteY3" fmla="*/ 5143500 h 5143500"/>
              <a:gd name="connsiteX4" fmla="*/ 0 w 5472242"/>
              <a:gd name="connsiteY4" fmla="*/ 5143500 h 5143500"/>
              <a:gd name="connsiteX0" fmla="*/ 0 w 5472242"/>
              <a:gd name="connsiteY0" fmla="*/ 5143500 h 5165803"/>
              <a:gd name="connsiteX1" fmla="*/ 2747195 w 5472242"/>
              <a:gd name="connsiteY1" fmla="*/ 0 h 5165803"/>
              <a:gd name="connsiteX2" fmla="*/ 5472242 w 5472242"/>
              <a:gd name="connsiteY2" fmla="*/ 7434 h 5165803"/>
              <a:gd name="connsiteX3" fmla="*/ 5468246 w 5472242"/>
              <a:gd name="connsiteY3" fmla="*/ 5165803 h 5165803"/>
              <a:gd name="connsiteX4" fmla="*/ 0 w 5472242"/>
              <a:gd name="connsiteY4" fmla="*/ 5143500 h 5165803"/>
              <a:gd name="connsiteX0" fmla="*/ 0 w 5472242"/>
              <a:gd name="connsiteY0" fmla="*/ 5143500 h 5143500"/>
              <a:gd name="connsiteX1" fmla="*/ 2747195 w 5472242"/>
              <a:gd name="connsiteY1" fmla="*/ 0 h 5143500"/>
              <a:gd name="connsiteX2" fmla="*/ 5472242 w 5472242"/>
              <a:gd name="connsiteY2" fmla="*/ 7434 h 5143500"/>
              <a:gd name="connsiteX3" fmla="*/ 3698919 w 5472242"/>
              <a:gd name="connsiteY3" fmla="*/ 4942779 h 5143500"/>
              <a:gd name="connsiteX4" fmla="*/ 0 w 5472242"/>
              <a:gd name="connsiteY4" fmla="*/ 5143500 h 5143500"/>
              <a:gd name="connsiteX0" fmla="*/ 0 w 5472242"/>
              <a:gd name="connsiteY0" fmla="*/ 5143500 h 5150935"/>
              <a:gd name="connsiteX1" fmla="*/ 2747195 w 5472242"/>
              <a:gd name="connsiteY1" fmla="*/ 0 h 5150935"/>
              <a:gd name="connsiteX2" fmla="*/ 5472242 w 5472242"/>
              <a:gd name="connsiteY2" fmla="*/ 7434 h 5150935"/>
              <a:gd name="connsiteX3" fmla="*/ 4301085 w 5472242"/>
              <a:gd name="connsiteY3" fmla="*/ 5150935 h 5150935"/>
              <a:gd name="connsiteX4" fmla="*/ 0 w 5472242"/>
              <a:gd name="connsiteY4" fmla="*/ 5143500 h 5150935"/>
              <a:gd name="connsiteX0" fmla="*/ 0 w 4728828"/>
              <a:gd name="connsiteY0" fmla="*/ 5143500 h 5150935"/>
              <a:gd name="connsiteX1" fmla="*/ 2747195 w 4728828"/>
              <a:gd name="connsiteY1" fmla="*/ 0 h 5150935"/>
              <a:gd name="connsiteX2" fmla="*/ 4728828 w 4728828"/>
              <a:gd name="connsiteY2" fmla="*/ 223024 h 5150935"/>
              <a:gd name="connsiteX3" fmla="*/ 4301085 w 4728828"/>
              <a:gd name="connsiteY3" fmla="*/ 5150935 h 5150935"/>
              <a:gd name="connsiteX4" fmla="*/ 0 w 4728828"/>
              <a:gd name="connsiteY4" fmla="*/ 5143500 h 5150935"/>
              <a:gd name="connsiteX0" fmla="*/ 0 w 4342253"/>
              <a:gd name="connsiteY0" fmla="*/ 5173237 h 5180672"/>
              <a:gd name="connsiteX1" fmla="*/ 2747195 w 4342253"/>
              <a:gd name="connsiteY1" fmla="*/ 29737 h 5180672"/>
              <a:gd name="connsiteX2" fmla="*/ 4342253 w 4342253"/>
              <a:gd name="connsiteY2" fmla="*/ 0 h 5180672"/>
              <a:gd name="connsiteX3" fmla="*/ 4301085 w 4342253"/>
              <a:gd name="connsiteY3" fmla="*/ 5180672 h 5180672"/>
              <a:gd name="connsiteX4" fmla="*/ 0 w 4342253"/>
              <a:gd name="connsiteY4" fmla="*/ 5173237 h 5180672"/>
              <a:gd name="connsiteX0" fmla="*/ 0 w 4370700"/>
              <a:gd name="connsiteY0" fmla="*/ 5143500 h 5150935"/>
              <a:gd name="connsiteX1" fmla="*/ 2747195 w 4370700"/>
              <a:gd name="connsiteY1" fmla="*/ 0 h 5150935"/>
              <a:gd name="connsiteX2" fmla="*/ 4370700 w 4370700"/>
              <a:gd name="connsiteY2" fmla="*/ 190735 h 5150935"/>
              <a:gd name="connsiteX3" fmla="*/ 4301085 w 4370700"/>
              <a:gd name="connsiteY3" fmla="*/ 5150935 h 5150935"/>
              <a:gd name="connsiteX4" fmla="*/ 0 w 4370700"/>
              <a:gd name="connsiteY4" fmla="*/ 5143500 h 5150935"/>
              <a:gd name="connsiteX0" fmla="*/ 0 w 4370700"/>
              <a:gd name="connsiteY0" fmla="*/ 4965700 h 4973135"/>
              <a:gd name="connsiteX1" fmla="*/ 2647627 w 4370700"/>
              <a:gd name="connsiteY1" fmla="*/ 0 h 4973135"/>
              <a:gd name="connsiteX2" fmla="*/ 4370700 w 4370700"/>
              <a:gd name="connsiteY2" fmla="*/ 12935 h 4973135"/>
              <a:gd name="connsiteX3" fmla="*/ 4301085 w 4370700"/>
              <a:gd name="connsiteY3" fmla="*/ 4973135 h 4973135"/>
              <a:gd name="connsiteX4" fmla="*/ 0 w 4370700"/>
              <a:gd name="connsiteY4" fmla="*/ 4965700 h 4973135"/>
              <a:gd name="connsiteX0" fmla="*/ 0 w 4301085"/>
              <a:gd name="connsiteY0" fmla="*/ 4965700 h 4973135"/>
              <a:gd name="connsiteX1" fmla="*/ 2647627 w 4301085"/>
              <a:gd name="connsiteY1" fmla="*/ 0 h 4973135"/>
              <a:gd name="connsiteX2" fmla="*/ 3686714 w 4301085"/>
              <a:gd name="connsiteY2" fmla="*/ 261657 h 4973135"/>
              <a:gd name="connsiteX3" fmla="*/ 4301085 w 4301085"/>
              <a:gd name="connsiteY3" fmla="*/ 4973135 h 4973135"/>
              <a:gd name="connsiteX4" fmla="*/ 0 w 4301085"/>
              <a:gd name="connsiteY4" fmla="*/ 4965700 h 4973135"/>
              <a:gd name="connsiteX0" fmla="*/ 0 w 3686714"/>
              <a:gd name="connsiteY0" fmla="*/ 4965700 h 4965700"/>
              <a:gd name="connsiteX1" fmla="*/ 2647627 w 3686714"/>
              <a:gd name="connsiteY1" fmla="*/ 0 h 4965700"/>
              <a:gd name="connsiteX2" fmla="*/ 3686714 w 3686714"/>
              <a:gd name="connsiteY2" fmla="*/ 261657 h 4965700"/>
              <a:gd name="connsiteX3" fmla="*/ 3548010 w 3686714"/>
              <a:gd name="connsiteY3" fmla="*/ 4579325 h 4965700"/>
              <a:gd name="connsiteX4" fmla="*/ 0 w 3686714"/>
              <a:gd name="connsiteY4" fmla="*/ 4965700 h 4965700"/>
              <a:gd name="connsiteX0" fmla="*/ 0 w 4343065"/>
              <a:gd name="connsiteY0" fmla="*/ 4966583 h 4966583"/>
              <a:gd name="connsiteX1" fmla="*/ 2647627 w 4343065"/>
              <a:gd name="connsiteY1" fmla="*/ 883 h 4966583"/>
              <a:gd name="connsiteX2" fmla="*/ 4343065 w 4343065"/>
              <a:gd name="connsiteY2" fmla="*/ 0 h 4966583"/>
              <a:gd name="connsiteX3" fmla="*/ 3548010 w 4343065"/>
              <a:gd name="connsiteY3" fmla="*/ 4580208 h 4966583"/>
              <a:gd name="connsiteX4" fmla="*/ 0 w 4343065"/>
              <a:gd name="connsiteY4" fmla="*/ 4966583 h 4966583"/>
              <a:gd name="connsiteX0" fmla="*/ 0 w 4343065"/>
              <a:gd name="connsiteY0" fmla="*/ 4966583 h 4974018"/>
              <a:gd name="connsiteX1" fmla="*/ 2647627 w 4343065"/>
              <a:gd name="connsiteY1" fmla="*/ 883 h 4974018"/>
              <a:gd name="connsiteX2" fmla="*/ 4343065 w 4343065"/>
              <a:gd name="connsiteY2" fmla="*/ 0 h 4974018"/>
              <a:gd name="connsiteX3" fmla="*/ 4342539 w 4343065"/>
              <a:gd name="connsiteY3" fmla="*/ 4974018 h 4974018"/>
              <a:gd name="connsiteX4" fmla="*/ 0 w 4343065"/>
              <a:gd name="connsiteY4" fmla="*/ 4966583 h 4974018"/>
              <a:gd name="connsiteX0" fmla="*/ 0 w 4343065"/>
              <a:gd name="connsiteY0" fmla="*/ 4972608 h 4980043"/>
              <a:gd name="connsiteX1" fmla="*/ 1569832 w 4343065"/>
              <a:gd name="connsiteY1" fmla="*/ 0 h 4980043"/>
              <a:gd name="connsiteX2" fmla="*/ 4343065 w 4343065"/>
              <a:gd name="connsiteY2" fmla="*/ 6025 h 4980043"/>
              <a:gd name="connsiteX3" fmla="*/ 4342539 w 4343065"/>
              <a:gd name="connsiteY3" fmla="*/ 4980043 h 4980043"/>
              <a:gd name="connsiteX4" fmla="*/ 0 w 4343065"/>
              <a:gd name="connsiteY4" fmla="*/ 4972608 h 4980043"/>
              <a:gd name="connsiteX0" fmla="*/ 0 w 4723057"/>
              <a:gd name="connsiteY0" fmla="*/ 4972608 h 4980043"/>
              <a:gd name="connsiteX1" fmla="*/ 1569832 w 4723057"/>
              <a:gd name="connsiteY1" fmla="*/ 0 h 4980043"/>
              <a:gd name="connsiteX2" fmla="*/ 4723057 w 4723057"/>
              <a:gd name="connsiteY2" fmla="*/ 19843 h 4980043"/>
              <a:gd name="connsiteX3" fmla="*/ 4342539 w 4723057"/>
              <a:gd name="connsiteY3" fmla="*/ 4980043 h 4980043"/>
              <a:gd name="connsiteX4" fmla="*/ 0 w 4723057"/>
              <a:gd name="connsiteY4" fmla="*/ 4972608 h 4980043"/>
              <a:gd name="connsiteX0" fmla="*/ 0 w 4736350"/>
              <a:gd name="connsiteY0" fmla="*/ 4972608 h 4972608"/>
              <a:gd name="connsiteX1" fmla="*/ 1569832 w 4736350"/>
              <a:gd name="connsiteY1" fmla="*/ 0 h 4972608"/>
              <a:gd name="connsiteX2" fmla="*/ 4723057 w 4736350"/>
              <a:gd name="connsiteY2" fmla="*/ 19843 h 4972608"/>
              <a:gd name="connsiteX3" fmla="*/ 4736349 w 4736350"/>
              <a:gd name="connsiteY3" fmla="*/ 4959317 h 4972608"/>
              <a:gd name="connsiteX4" fmla="*/ 0 w 4736350"/>
              <a:gd name="connsiteY4" fmla="*/ 4972608 h 4972608"/>
              <a:gd name="connsiteX0" fmla="*/ 0 w 4736350"/>
              <a:gd name="connsiteY0" fmla="*/ 4958790 h 4958790"/>
              <a:gd name="connsiteX1" fmla="*/ 1362564 w 4736350"/>
              <a:gd name="connsiteY1" fmla="*/ 0 h 4958790"/>
              <a:gd name="connsiteX2" fmla="*/ 4723057 w 4736350"/>
              <a:gd name="connsiteY2" fmla="*/ 6025 h 4958790"/>
              <a:gd name="connsiteX3" fmla="*/ 4736349 w 4736350"/>
              <a:gd name="connsiteY3" fmla="*/ 4945499 h 4958790"/>
              <a:gd name="connsiteX4" fmla="*/ 0 w 4736350"/>
              <a:gd name="connsiteY4" fmla="*/ 4958790 h 495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6350" h="4958790">
                <a:moveTo>
                  <a:pt x="0" y="4958790"/>
                </a:moveTo>
                <a:lnTo>
                  <a:pt x="1362564" y="0"/>
                </a:lnTo>
                <a:lnTo>
                  <a:pt x="4723057" y="6025"/>
                </a:lnTo>
                <a:cubicBezTo>
                  <a:pt x="4722882" y="1664031"/>
                  <a:pt x="4736524" y="3287493"/>
                  <a:pt x="4736349" y="4945499"/>
                </a:cubicBezTo>
                <a:lnTo>
                  <a:pt x="0" y="495879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hasCustomPrompt="1"/>
          </p:nvPr>
        </p:nvSpPr>
        <p:spPr>
          <a:xfrm>
            <a:off x="664526" y="3307383"/>
            <a:ext cx="4331368" cy="627904"/>
          </a:xfrm>
        </p:spPr>
        <p:txBody>
          <a:bodyPr anchor="b"/>
          <a:lstStyle>
            <a:lvl1pPr algn="l">
              <a:defRPr sz="4267"/>
            </a:lvl1pPr>
          </a:lstStyle>
          <a:p>
            <a:r>
              <a:rPr lang="en-US" dirty="0"/>
              <a:t>Speaker Name</a:t>
            </a:r>
          </a:p>
        </p:txBody>
      </p:sp>
      <p:sp>
        <p:nvSpPr>
          <p:cNvPr id="18" name="Text Placeholder 17"/>
          <p:cNvSpPr>
            <a:spLocks noGrp="1"/>
          </p:cNvSpPr>
          <p:nvPr>
            <p:ph type="body" sz="quarter" idx="10" hasCustomPrompt="1"/>
          </p:nvPr>
        </p:nvSpPr>
        <p:spPr>
          <a:xfrm>
            <a:off x="664756" y="3926055"/>
            <a:ext cx="4330700" cy="540913"/>
          </a:xfrm>
        </p:spPr>
        <p:txBody>
          <a:bodyPr/>
          <a:lstStyle>
            <a:lvl1pPr marL="0" marR="0" indent="0" algn="l" defTabSz="609628" rtl="0" eaLnBrk="1" fontAlgn="auto" latinLnBrk="0" hangingPunct="1">
              <a:lnSpc>
                <a:spcPct val="100000"/>
              </a:lnSpc>
              <a:spcBef>
                <a:spcPct val="0"/>
              </a:spcBef>
              <a:spcAft>
                <a:spcPts val="0"/>
              </a:spcAft>
              <a:buClrTx/>
              <a:buSzTx/>
              <a:buFontTx/>
              <a:buNone/>
              <a:tabLst/>
              <a:defRPr kumimoji="0" lang="en-US" sz="2667" b="0" i="0" u="none" strike="noStrike" kern="1200" cap="none" spc="0" normalizeH="0" baseline="0" dirty="0">
                <a:ln>
                  <a:noFill/>
                </a:ln>
                <a:solidFill>
                  <a:schemeClr val="accent3"/>
                </a:solidFill>
                <a:effectLst/>
                <a:uLnTx/>
                <a:uFillTx/>
                <a:latin typeface="+mn-lt"/>
                <a:ea typeface="Segoe UI Light" charset="0"/>
                <a:cs typeface="Segoe UI Light" charset="0"/>
              </a:defRPr>
            </a:lvl1pPr>
          </a:lstStyle>
          <a:p>
            <a:pPr lvl="0"/>
            <a:r>
              <a:rPr lang="en-US" dirty="0"/>
              <a:t>Title, Company</a:t>
            </a:r>
          </a:p>
        </p:txBody>
      </p:sp>
      <p:sp>
        <p:nvSpPr>
          <p:cNvPr id="23" name="Text Placeholder 17"/>
          <p:cNvSpPr>
            <a:spLocks noGrp="1"/>
          </p:cNvSpPr>
          <p:nvPr>
            <p:ph type="body" sz="quarter" idx="11" hasCustomPrompt="1"/>
          </p:nvPr>
        </p:nvSpPr>
        <p:spPr>
          <a:xfrm>
            <a:off x="7759341" y="1514757"/>
            <a:ext cx="3929500" cy="358448"/>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867" b="0" i="0" u="none" strike="noStrike" kern="1200" cap="none" spc="0" normalizeH="0" baseline="0" dirty="0">
                <a:ln>
                  <a:noFill/>
                </a:ln>
                <a:solidFill>
                  <a:schemeClr val="tx1"/>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dirty="0"/>
              <a:t>Biography Point One</a:t>
            </a:r>
          </a:p>
        </p:txBody>
      </p:sp>
      <p:sp>
        <p:nvSpPr>
          <p:cNvPr id="39" name="Picture Placeholder 38"/>
          <p:cNvSpPr>
            <a:spLocks noGrp="1"/>
          </p:cNvSpPr>
          <p:nvPr>
            <p:ph type="pic" sz="quarter" idx="12" hasCustomPrompt="1"/>
          </p:nvPr>
        </p:nvSpPr>
        <p:spPr>
          <a:xfrm>
            <a:off x="664526" y="859692"/>
            <a:ext cx="1924051" cy="1924049"/>
          </a:xfrm>
          <a:prstGeom prst="ellipse">
            <a:avLst/>
          </a:prstGeom>
          <a:solidFill>
            <a:schemeClr val="bg2">
              <a:lumMod val="95000"/>
            </a:schemeClr>
          </a:solidFill>
        </p:spPr>
        <p:txBody>
          <a:bodyPr anchor="ctr"/>
          <a:lstStyle>
            <a:lvl1pPr algn="ctr">
              <a:defRPr sz="1400"/>
            </a:lvl1pPr>
          </a:lstStyle>
          <a:p>
            <a:r>
              <a:rPr lang="en-US" dirty="0"/>
              <a:t>PLACE YOUR PHOTO HERE</a:t>
            </a:r>
          </a:p>
        </p:txBody>
      </p:sp>
      <p:sp>
        <p:nvSpPr>
          <p:cNvPr id="40" name="Text Placeholder 17"/>
          <p:cNvSpPr>
            <a:spLocks noGrp="1"/>
          </p:cNvSpPr>
          <p:nvPr>
            <p:ph type="body" sz="quarter" idx="13" hasCustomPrompt="1"/>
          </p:nvPr>
        </p:nvSpPr>
        <p:spPr>
          <a:xfrm>
            <a:off x="7759341" y="1873836"/>
            <a:ext cx="3929500" cy="792684"/>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pulvinar</a:t>
            </a:r>
            <a:r>
              <a:rPr lang="en-US" dirty="0"/>
              <a:t> </a:t>
            </a:r>
            <a:r>
              <a:rPr lang="en-US" dirty="0" err="1"/>
              <a:t>nunc</a:t>
            </a:r>
            <a:r>
              <a:rPr lang="en-US" dirty="0"/>
              <a:t> </a:t>
            </a:r>
            <a:r>
              <a:rPr lang="en-US" dirty="0" err="1"/>
              <a:t>est</a:t>
            </a:r>
            <a:r>
              <a:rPr lang="en-US" dirty="0"/>
              <a:t>, </a:t>
            </a:r>
            <a:r>
              <a:rPr lang="en-US" dirty="0" err="1"/>
              <a:t>quis</a:t>
            </a:r>
            <a:r>
              <a:rPr lang="en-US" dirty="0"/>
              <a:t> </a:t>
            </a:r>
            <a:r>
              <a:rPr lang="en-US" dirty="0" err="1"/>
              <a:t>congue</a:t>
            </a:r>
            <a:r>
              <a:rPr lang="en-US" dirty="0"/>
              <a:t> </a:t>
            </a:r>
            <a:r>
              <a:rPr lang="en-US" dirty="0" err="1"/>
              <a:t>massa</a:t>
            </a:r>
            <a:r>
              <a:rPr lang="en-US" dirty="0"/>
              <a:t> </a:t>
            </a:r>
            <a:r>
              <a:rPr lang="en-US" dirty="0" err="1"/>
              <a:t>lobortis</a:t>
            </a:r>
            <a:r>
              <a:rPr lang="en-US" dirty="0"/>
              <a:t> </a:t>
            </a:r>
            <a:r>
              <a:rPr lang="en-US" dirty="0" err="1"/>
              <a:t>eget</a:t>
            </a:r>
            <a:r>
              <a:rPr lang="en-US" dirty="0"/>
              <a:t>.</a:t>
            </a:r>
          </a:p>
        </p:txBody>
      </p:sp>
      <p:sp>
        <p:nvSpPr>
          <p:cNvPr id="41" name="Text Placeholder 17"/>
          <p:cNvSpPr>
            <a:spLocks noGrp="1"/>
          </p:cNvSpPr>
          <p:nvPr>
            <p:ph type="body" sz="quarter" idx="14" hasCustomPrompt="1"/>
          </p:nvPr>
        </p:nvSpPr>
        <p:spPr>
          <a:xfrm>
            <a:off x="7759341" y="3008431"/>
            <a:ext cx="3929500" cy="358448"/>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867" b="0" i="0" u="none" strike="noStrike" kern="1200" cap="none" spc="0" normalizeH="0" baseline="0" dirty="0">
                <a:ln>
                  <a:noFill/>
                </a:ln>
                <a:solidFill>
                  <a:schemeClr val="tx1"/>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dirty="0"/>
              <a:t>Biography Point Two</a:t>
            </a:r>
          </a:p>
        </p:txBody>
      </p:sp>
      <p:sp>
        <p:nvSpPr>
          <p:cNvPr id="42" name="Text Placeholder 17"/>
          <p:cNvSpPr>
            <a:spLocks noGrp="1"/>
          </p:cNvSpPr>
          <p:nvPr>
            <p:ph type="body" sz="quarter" idx="15" hasCustomPrompt="1"/>
          </p:nvPr>
        </p:nvSpPr>
        <p:spPr>
          <a:xfrm>
            <a:off x="7759341" y="3367510"/>
            <a:ext cx="3929500" cy="792684"/>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pulvinar</a:t>
            </a:r>
            <a:r>
              <a:rPr lang="en-US" dirty="0"/>
              <a:t> </a:t>
            </a:r>
            <a:r>
              <a:rPr lang="en-US" dirty="0" err="1"/>
              <a:t>nunc</a:t>
            </a:r>
            <a:r>
              <a:rPr lang="en-US" dirty="0"/>
              <a:t> </a:t>
            </a:r>
            <a:r>
              <a:rPr lang="en-US" dirty="0" err="1"/>
              <a:t>est</a:t>
            </a:r>
            <a:r>
              <a:rPr lang="en-US" dirty="0"/>
              <a:t>, </a:t>
            </a:r>
            <a:r>
              <a:rPr lang="en-US" dirty="0" err="1"/>
              <a:t>quis</a:t>
            </a:r>
            <a:r>
              <a:rPr lang="en-US" dirty="0"/>
              <a:t> </a:t>
            </a:r>
            <a:r>
              <a:rPr lang="en-US" dirty="0" err="1"/>
              <a:t>congue</a:t>
            </a:r>
            <a:r>
              <a:rPr lang="en-US" dirty="0"/>
              <a:t> </a:t>
            </a:r>
            <a:r>
              <a:rPr lang="en-US" dirty="0" err="1"/>
              <a:t>massa</a:t>
            </a:r>
            <a:r>
              <a:rPr lang="en-US" dirty="0"/>
              <a:t> </a:t>
            </a:r>
            <a:r>
              <a:rPr lang="en-US" dirty="0" err="1"/>
              <a:t>lobortis</a:t>
            </a:r>
            <a:r>
              <a:rPr lang="en-US" dirty="0"/>
              <a:t> </a:t>
            </a:r>
            <a:r>
              <a:rPr lang="en-US" dirty="0" err="1"/>
              <a:t>eget</a:t>
            </a:r>
            <a:r>
              <a:rPr lang="en-US" dirty="0"/>
              <a:t>.</a:t>
            </a:r>
          </a:p>
        </p:txBody>
      </p:sp>
      <p:sp>
        <p:nvSpPr>
          <p:cNvPr id="43" name="Text Placeholder 17"/>
          <p:cNvSpPr>
            <a:spLocks noGrp="1"/>
          </p:cNvSpPr>
          <p:nvPr>
            <p:ph type="body" sz="quarter" idx="16" hasCustomPrompt="1"/>
          </p:nvPr>
        </p:nvSpPr>
        <p:spPr>
          <a:xfrm>
            <a:off x="7759341" y="4480060"/>
            <a:ext cx="3929500" cy="358448"/>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867" b="0" i="0" u="none" strike="noStrike" kern="1200" cap="none" spc="0" normalizeH="0" baseline="0" dirty="0">
                <a:ln>
                  <a:noFill/>
                </a:ln>
                <a:solidFill>
                  <a:schemeClr val="tx1"/>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dirty="0"/>
              <a:t>Biography Point Three</a:t>
            </a:r>
          </a:p>
        </p:txBody>
      </p:sp>
      <p:sp>
        <p:nvSpPr>
          <p:cNvPr id="44" name="Text Placeholder 17"/>
          <p:cNvSpPr>
            <a:spLocks noGrp="1"/>
          </p:cNvSpPr>
          <p:nvPr>
            <p:ph type="body" sz="quarter" idx="17" hasCustomPrompt="1"/>
          </p:nvPr>
        </p:nvSpPr>
        <p:spPr>
          <a:xfrm>
            <a:off x="7759341" y="4839140"/>
            <a:ext cx="3929500" cy="792684"/>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r>
            <a:r>
              <a:rPr lang="en-US" dirty="0" err="1"/>
              <a:t>pulvinar</a:t>
            </a:r>
            <a:r>
              <a:rPr lang="en-US" dirty="0"/>
              <a:t> </a:t>
            </a:r>
            <a:r>
              <a:rPr lang="en-US" dirty="0" err="1"/>
              <a:t>nunc</a:t>
            </a:r>
            <a:r>
              <a:rPr lang="en-US" dirty="0"/>
              <a:t> </a:t>
            </a:r>
            <a:r>
              <a:rPr lang="en-US" dirty="0" err="1"/>
              <a:t>est</a:t>
            </a:r>
            <a:r>
              <a:rPr lang="en-US" dirty="0"/>
              <a:t>, </a:t>
            </a:r>
            <a:r>
              <a:rPr lang="en-US" dirty="0" err="1"/>
              <a:t>quis</a:t>
            </a:r>
            <a:r>
              <a:rPr lang="en-US" dirty="0"/>
              <a:t> </a:t>
            </a:r>
            <a:r>
              <a:rPr lang="en-US" dirty="0" err="1"/>
              <a:t>congue</a:t>
            </a:r>
            <a:r>
              <a:rPr lang="en-US" dirty="0"/>
              <a:t> </a:t>
            </a:r>
            <a:r>
              <a:rPr lang="en-US" dirty="0" err="1"/>
              <a:t>massa</a:t>
            </a:r>
            <a:r>
              <a:rPr lang="en-US" dirty="0"/>
              <a:t> </a:t>
            </a:r>
            <a:r>
              <a:rPr lang="en-US" dirty="0" err="1"/>
              <a:t>lobortis</a:t>
            </a:r>
            <a:r>
              <a:rPr lang="en-US" dirty="0"/>
              <a:t> </a:t>
            </a:r>
            <a:r>
              <a:rPr lang="en-US" dirty="0" err="1"/>
              <a:t>eget</a:t>
            </a:r>
            <a:r>
              <a:rPr lang="en-US" dirty="0"/>
              <a:t>.</a:t>
            </a:r>
          </a:p>
        </p:txBody>
      </p:sp>
      <p:sp>
        <p:nvSpPr>
          <p:cNvPr id="49" name="Text Placeholder 48"/>
          <p:cNvSpPr>
            <a:spLocks noGrp="1"/>
          </p:cNvSpPr>
          <p:nvPr>
            <p:ph type="body" sz="quarter" idx="18" hasCustomPrompt="1"/>
          </p:nvPr>
        </p:nvSpPr>
        <p:spPr>
          <a:xfrm>
            <a:off x="1176051" y="4645546"/>
            <a:ext cx="1159933" cy="349250"/>
          </a:xfrm>
        </p:spPr>
        <p:txBody>
          <a:bodyPr/>
          <a:lstStyle>
            <a:lvl1pPr marL="0" algn="l" defTabSz="1219256" rtl="0" eaLnBrk="1" latinLnBrk="0" hangingPunct="1">
              <a:defRPr lang="en-US" sz="1467" kern="1200" dirty="0">
                <a:solidFill>
                  <a:schemeClr val="accent1"/>
                </a:solidFill>
                <a:latin typeface="+mn-lt"/>
                <a:ea typeface="+mn-ea"/>
                <a:cs typeface="+mn-cs"/>
              </a:defRPr>
            </a:lvl1pPr>
          </a:lstStyle>
          <a:p>
            <a:r>
              <a:rPr lang="en-US" sz="1467" dirty="0">
                <a:solidFill>
                  <a:schemeClr val="accent1"/>
                </a:solidFill>
              </a:rPr>
              <a:t>/</a:t>
            </a:r>
            <a:r>
              <a:rPr lang="en-US" sz="1467" dirty="0" err="1">
                <a:solidFill>
                  <a:schemeClr val="accent1"/>
                </a:solidFill>
              </a:rPr>
              <a:t>yourname</a:t>
            </a:r>
            <a:endParaRPr lang="en-US" sz="1467" dirty="0">
              <a:solidFill>
                <a:schemeClr val="accent1"/>
              </a:solidFill>
            </a:endParaRPr>
          </a:p>
        </p:txBody>
      </p:sp>
      <p:sp>
        <p:nvSpPr>
          <p:cNvPr id="50" name="Text Placeholder 48"/>
          <p:cNvSpPr>
            <a:spLocks noGrp="1"/>
          </p:cNvSpPr>
          <p:nvPr>
            <p:ph type="body" sz="quarter" idx="19" hasCustomPrompt="1"/>
          </p:nvPr>
        </p:nvSpPr>
        <p:spPr>
          <a:xfrm>
            <a:off x="1179337" y="5158385"/>
            <a:ext cx="1380211" cy="349250"/>
          </a:xfrm>
        </p:spPr>
        <p:txBody>
          <a:bodyPr/>
          <a:lstStyle>
            <a:lvl1pPr marL="0" algn="l" defTabSz="1219256" rtl="0" eaLnBrk="1" latinLnBrk="0" hangingPunct="1">
              <a:defRPr lang="en-US" sz="1467" kern="1200" dirty="0">
                <a:solidFill>
                  <a:schemeClr val="accent1"/>
                </a:solidFill>
                <a:latin typeface="+mn-lt"/>
                <a:ea typeface="+mn-ea"/>
                <a:cs typeface="+mn-cs"/>
              </a:defRPr>
            </a:lvl1pPr>
          </a:lstStyle>
          <a:p>
            <a:r>
              <a:rPr lang="en-US" sz="1467">
                <a:solidFill>
                  <a:schemeClr val="accent1"/>
                </a:solidFill>
              </a:rPr>
              <a:t>@</a:t>
            </a:r>
            <a:r>
              <a:rPr lang="en-US" sz="1467" dirty="0" err="1">
                <a:solidFill>
                  <a:schemeClr val="accent1"/>
                </a:solidFill>
              </a:rPr>
              <a:t>yourhandle</a:t>
            </a:r>
            <a:endParaRPr lang="en-US" sz="1467" dirty="0">
              <a:solidFill>
                <a:schemeClr val="accent1"/>
              </a:solidFill>
            </a:endParaRPr>
          </a:p>
        </p:txBody>
      </p:sp>
      <p:sp>
        <p:nvSpPr>
          <p:cNvPr id="51" name="Text Placeholder 48"/>
          <p:cNvSpPr>
            <a:spLocks noGrp="1"/>
          </p:cNvSpPr>
          <p:nvPr>
            <p:ph type="body" sz="quarter" idx="20" hasCustomPrompt="1"/>
          </p:nvPr>
        </p:nvSpPr>
        <p:spPr>
          <a:xfrm>
            <a:off x="1174780" y="5658002"/>
            <a:ext cx="1159933" cy="349250"/>
          </a:xfrm>
        </p:spPr>
        <p:txBody>
          <a:bodyPr/>
          <a:lstStyle>
            <a:lvl1pPr marL="0" algn="l" defTabSz="1219256" rtl="0" eaLnBrk="1" latinLnBrk="0" hangingPunct="1">
              <a:defRPr lang="en-US" sz="1467" kern="1200" dirty="0">
                <a:solidFill>
                  <a:schemeClr val="accent1"/>
                </a:solidFill>
                <a:latin typeface="+mn-lt"/>
                <a:ea typeface="+mn-ea"/>
                <a:cs typeface="+mn-cs"/>
              </a:defRPr>
            </a:lvl1pPr>
          </a:lstStyle>
          <a:p>
            <a:r>
              <a:rPr lang="en-US" sz="1467" dirty="0" err="1">
                <a:solidFill>
                  <a:schemeClr val="accent1"/>
                </a:solidFill>
              </a:rPr>
              <a:t>yourname</a:t>
            </a:r>
            <a:endParaRPr lang="en-US" sz="1467" dirty="0">
              <a:solidFill>
                <a:schemeClr val="accent1"/>
              </a:solidFill>
            </a:endParaRPr>
          </a:p>
        </p:txBody>
      </p:sp>
    </p:spTree>
    <p:extLst>
      <p:ext uri="{BB962C8B-B14F-4D97-AF65-F5344CB8AC3E}">
        <p14:creationId xmlns:p14="http://schemas.microsoft.com/office/powerpoint/2010/main" val="35411096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22443172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59916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906877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E3508132-3864-4D62-BDFD-482ACEDA8190}"/>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64807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image" Target="../media/image9.svg"/><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image" Target="../media/image10.png"/><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heme" Target="../theme/theme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theme" Target="../theme/theme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1"/>
            </p:custDataLst>
            <p:extLst>
              <p:ext uri="{D42A27DB-BD31-4B8C-83A1-F6EECF244321}">
                <p14:modId xmlns:p14="http://schemas.microsoft.com/office/powerpoint/2010/main" val="263500133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20902708-2D51-4836-A445-9019E1714EDA}"/>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000" b="0" i="0" baseline="0">
              <a:latin typeface="Verdana" panose="020B0604030504040204" pitchFamily="34" charset="0"/>
              <a:ea typeface="+mj-ea"/>
              <a:cs typeface="+mj-cs"/>
              <a:sym typeface="Verdana" panose="020B0604030504040204" pitchFamily="34" charset="0"/>
            </a:endParaRPr>
          </a:p>
        </p:txBody>
      </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Capgemini 2021. All rights reserved </a:t>
            </a:r>
            <a:r>
              <a:rPr lang="en-US">
                <a:solidFill>
                  <a:schemeClr val="accent2"/>
                </a:solidFill>
              </a:rPr>
              <a:t>|</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2" name="Rectangle 11">
              <a:extLst>
                <a:ext uri="{FF2B5EF4-FFF2-40B4-BE49-F238E27FC236}">
                  <a16:creationId xmlns:a16="http://schemas.microsoft.com/office/drawing/2014/main" id="{22B40C78-6F20-4C95-AB26-B29FEC0FF747}"/>
                </a:ext>
              </a:extLst>
            </p:cNvPr>
            <p:cNvSpPr/>
            <p:nvPr/>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3" name="Rectangle 12">
              <a:extLst>
                <a:ext uri="{FF2B5EF4-FFF2-40B4-BE49-F238E27FC236}">
                  <a16:creationId xmlns:a16="http://schemas.microsoft.com/office/drawing/2014/main" id="{1AED4E7D-39CE-49AE-9D4C-16EA940CBE5F}"/>
                </a:ext>
              </a:extLst>
            </p:cNvPr>
            <p:cNvSpPr/>
            <p:nvPr/>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4" name="Rectangle 13">
              <a:extLst>
                <a:ext uri="{FF2B5EF4-FFF2-40B4-BE49-F238E27FC236}">
                  <a16:creationId xmlns:a16="http://schemas.microsoft.com/office/drawing/2014/main" id="{392DC803-B0F7-4D0E-81CA-9DDCB14FA42C}"/>
                </a:ext>
              </a:extLst>
            </p:cNvPr>
            <p:cNvSpPr/>
            <p:nvPr/>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5" name="Rectangle 14">
              <a:extLst>
                <a:ext uri="{FF2B5EF4-FFF2-40B4-BE49-F238E27FC236}">
                  <a16:creationId xmlns:a16="http://schemas.microsoft.com/office/drawing/2014/main" id="{03C5671A-353B-4887-BEEF-56CEFAE8D83D}"/>
                </a:ext>
              </a:extLst>
            </p:cNvPr>
            <p:cNvSpPr/>
            <p:nvPr/>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7" name="Rectangle 16">
              <a:extLst>
                <a:ext uri="{FF2B5EF4-FFF2-40B4-BE49-F238E27FC236}">
                  <a16:creationId xmlns:a16="http://schemas.microsoft.com/office/drawing/2014/main" id="{0DDEBD8A-CA0B-4D62-9426-DFB2D4742184}"/>
                </a:ext>
              </a:extLst>
            </p:cNvPr>
            <p:cNvSpPr/>
            <p:nvPr/>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8" name="Rectangle 17">
              <a:extLst>
                <a:ext uri="{FF2B5EF4-FFF2-40B4-BE49-F238E27FC236}">
                  <a16:creationId xmlns:a16="http://schemas.microsoft.com/office/drawing/2014/main" id="{65515214-3AFD-4A2B-95C5-2FDFF59A1BE2}"/>
                </a:ext>
              </a:extLst>
            </p:cNvPr>
            <p:cNvSpPr/>
            <p:nvPr/>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9" name="Rectangle 18">
              <a:extLst>
                <a:ext uri="{FF2B5EF4-FFF2-40B4-BE49-F238E27FC236}">
                  <a16:creationId xmlns:a16="http://schemas.microsoft.com/office/drawing/2014/main" id="{D674829A-E5EF-4140-B9ED-AC7745AB028D}"/>
                </a:ext>
              </a:extLst>
            </p:cNvPr>
            <p:cNvSpPr/>
            <p:nvPr/>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0" name="Rectangle 19">
              <a:extLst>
                <a:ext uri="{FF2B5EF4-FFF2-40B4-BE49-F238E27FC236}">
                  <a16:creationId xmlns:a16="http://schemas.microsoft.com/office/drawing/2014/main" id="{E59B3FCE-0262-45FE-BE39-9459C5BC7FEE}"/>
                </a:ext>
              </a:extLst>
            </p:cNvPr>
            <p:cNvSpPr/>
            <p:nvPr/>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2" name="Rectangle 21">
              <a:extLst>
                <a:ext uri="{FF2B5EF4-FFF2-40B4-BE49-F238E27FC236}">
                  <a16:creationId xmlns:a16="http://schemas.microsoft.com/office/drawing/2014/main" id="{F5D692DE-D6DE-4022-9F2F-5F8C1403E4D0}"/>
                </a:ext>
              </a:extLst>
            </p:cNvPr>
            <p:cNvSpPr/>
            <p:nvPr/>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3" name="Rectangle 22">
              <a:extLst>
                <a:ext uri="{FF2B5EF4-FFF2-40B4-BE49-F238E27FC236}">
                  <a16:creationId xmlns:a16="http://schemas.microsoft.com/office/drawing/2014/main" id="{35EEF2F0-E01D-4851-96E7-30214EC78A3B}"/>
                </a:ext>
              </a:extLst>
            </p:cNvPr>
            <p:cNvSpPr/>
            <p:nvPr/>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4" name="Rectangle 23">
              <a:extLst>
                <a:ext uri="{FF2B5EF4-FFF2-40B4-BE49-F238E27FC236}">
                  <a16:creationId xmlns:a16="http://schemas.microsoft.com/office/drawing/2014/main" id="{468B1DDD-74B0-4453-A996-5BA8693FF545}"/>
                </a:ext>
              </a:extLst>
            </p:cNvPr>
            <p:cNvSpPr/>
            <p:nvPr/>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8809D5E9-1B2A-4D30-A4DD-47B7C9BBCEDC}"/>
                </a:ext>
              </a:extLst>
            </p:cNvPr>
            <p:cNvSpPr/>
            <p:nvPr/>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995FF3A0-94CA-40BA-AF81-B777FF5FD489}"/>
                </a:ext>
              </a:extLst>
            </p:cNvPr>
            <p:cNvSpPr/>
            <p:nvPr/>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9F83F12C-5135-43B7-B1D8-A0A72DB85AED}"/>
                </a:ext>
              </a:extLst>
            </p:cNvPr>
            <p:cNvSpPr/>
            <p:nvPr/>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256CA1CF-2C4A-42DA-94F5-CB5E5B47F24B}"/>
                </a:ext>
              </a:extLst>
            </p:cNvPr>
            <p:cNvSpPr/>
            <p:nvPr/>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47F07AFA-8569-4B3B-854A-60B26629D96D}"/>
                </a:ext>
              </a:extLst>
            </p:cNvPr>
            <p:cNvSpPr/>
            <p:nvPr/>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8103554C-8B73-4C9A-AFFF-55D6E47A0E76}"/>
                </a:ext>
              </a:extLst>
            </p:cNvPr>
            <p:cNvSpPr/>
            <p:nvPr/>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1">
            <a:extLst>
              <a:ext uri="{FF2B5EF4-FFF2-40B4-BE49-F238E27FC236}">
                <a16:creationId xmlns:a16="http://schemas.microsoft.com/office/drawing/2014/main" id="{F31688C0-3AAB-457C-86FA-4177A059CF79}"/>
              </a:ext>
            </a:extLst>
          </p:cNvPr>
          <p:cNvGrpSpPr/>
          <p:nvPr/>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15069624"/>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5">
            <a:extLst>
              <a:ext uri="{96DAC541-7B7A-43D3-8B79-37D633B846F1}">
                <asvg:svgBlip xmlns:asvg="http://schemas.microsoft.com/office/drawing/2016/SVG/main" r:embed="rId26"/>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apgemini Blue</a:t>
            </a:r>
          </a:p>
          <a:p>
            <a:pPr marL="171450"/>
            <a:r>
              <a:rPr lang="en-US" sz="600"/>
              <a:t>R 0</a:t>
            </a:r>
          </a:p>
          <a:p>
            <a:pPr marL="171450"/>
            <a:r>
              <a:rPr lang="en-US" sz="600"/>
              <a:t>G 112</a:t>
            </a:r>
          </a:p>
          <a:p>
            <a:pPr marL="171450"/>
            <a:r>
              <a:rPr lang="en-US" sz="60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Vibrant</a:t>
            </a:r>
            <a:br>
              <a:rPr lang="en-US" sz="600" b="1"/>
            </a:br>
            <a:r>
              <a:rPr lang="en-US" sz="600" b="1"/>
              <a:t>Blue</a:t>
            </a:r>
          </a:p>
          <a:p>
            <a:pPr marL="171450"/>
            <a:r>
              <a:rPr lang="en-US" sz="600"/>
              <a:t>R 18</a:t>
            </a:r>
          </a:p>
          <a:p>
            <a:pPr marL="171450"/>
            <a:r>
              <a:rPr lang="en-US" sz="600"/>
              <a:t>G 171</a:t>
            </a:r>
          </a:p>
          <a:p>
            <a:pPr marL="171450"/>
            <a:r>
              <a:rPr lang="en-US" sz="60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eep</a:t>
            </a:r>
            <a:br>
              <a:rPr lang="en-US" sz="600" b="1"/>
            </a:br>
            <a:r>
              <a:rPr lang="en-US" sz="600" b="1"/>
              <a:t>Purple</a:t>
            </a:r>
          </a:p>
          <a:p>
            <a:pPr marL="171450"/>
            <a:r>
              <a:rPr lang="en-US" sz="600"/>
              <a:t>R 43</a:t>
            </a:r>
          </a:p>
          <a:p>
            <a:pPr marL="171450"/>
            <a:r>
              <a:rPr lang="en-US" sz="600"/>
              <a:t>G 10</a:t>
            </a:r>
          </a:p>
          <a:p>
            <a:pPr marL="171450"/>
            <a:r>
              <a:rPr lang="en-US" sz="60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Tech</a:t>
            </a:r>
            <a:br>
              <a:rPr lang="en-US" sz="600" b="1"/>
            </a:br>
            <a:r>
              <a:rPr lang="en-US" sz="600" b="1"/>
              <a:t>Red</a:t>
            </a:r>
          </a:p>
          <a:p>
            <a:pPr marL="171450"/>
            <a:r>
              <a:rPr lang="en-US" sz="600"/>
              <a:t>R 255</a:t>
            </a:r>
          </a:p>
          <a:p>
            <a:pPr marL="171450"/>
            <a:r>
              <a:rPr lang="en-US" sz="600"/>
              <a:t>G 48</a:t>
            </a:r>
          </a:p>
          <a:p>
            <a:pPr marL="171450"/>
            <a:r>
              <a:rPr lang="en-US" sz="60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Zest</a:t>
            </a:r>
            <a:br>
              <a:rPr lang="en-US" sz="600" b="1"/>
            </a:br>
            <a:r>
              <a:rPr lang="en-US" sz="600" b="1"/>
              <a:t>Green</a:t>
            </a:r>
          </a:p>
          <a:p>
            <a:pPr marL="171450"/>
            <a:r>
              <a:rPr lang="en-US" sz="600"/>
              <a:t>R 149</a:t>
            </a:r>
          </a:p>
          <a:p>
            <a:pPr marL="171450"/>
            <a:r>
              <a:rPr lang="en-US" sz="600"/>
              <a:t>G 230</a:t>
            </a:r>
          </a:p>
          <a:p>
            <a:pPr marL="171450"/>
            <a:r>
              <a:rPr lang="en-US" sz="60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Capgemini Blue</a:t>
            </a:r>
            <a:r>
              <a:rPr lang="en-US" sz="600"/>
              <a:t> (-50%)</a:t>
            </a:r>
          </a:p>
          <a:p>
            <a:pPr marL="171450"/>
            <a:r>
              <a:rPr lang="en-US" sz="600"/>
              <a:t>R 128</a:t>
            </a:r>
          </a:p>
          <a:p>
            <a:pPr marL="171450"/>
            <a:r>
              <a:rPr lang="en-US" sz="600"/>
              <a:t>G 184</a:t>
            </a:r>
          </a:p>
          <a:p>
            <a:pPr marL="171450"/>
            <a:r>
              <a:rPr lang="en-US" sz="60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Vibrant</a:t>
            </a:r>
            <a:br>
              <a:rPr lang="en-US" sz="600" b="1"/>
            </a:br>
            <a:r>
              <a:rPr lang="en-US" sz="600" b="1"/>
              <a:t>Blue</a:t>
            </a:r>
            <a:r>
              <a:rPr lang="en-US" sz="600"/>
              <a:t> (-50%)</a:t>
            </a:r>
          </a:p>
          <a:p>
            <a:pPr marL="171450"/>
            <a:r>
              <a:rPr lang="en-US" sz="600"/>
              <a:t>R 136</a:t>
            </a:r>
          </a:p>
          <a:p>
            <a:pPr marL="171450"/>
            <a:r>
              <a:rPr lang="en-US" sz="600"/>
              <a:t>G 213</a:t>
            </a:r>
          </a:p>
          <a:p>
            <a:pPr marL="171450"/>
            <a:r>
              <a:rPr lang="en-US" sz="60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Purple</a:t>
            </a:r>
          </a:p>
          <a:p>
            <a:pPr marL="171450"/>
            <a:r>
              <a:rPr lang="en-US" sz="600"/>
              <a:t>R 109</a:t>
            </a:r>
          </a:p>
          <a:p>
            <a:pPr marL="171450"/>
            <a:r>
              <a:rPr lang="en-US" sz="600"/>
              <a:t>G 100</a:t>
            </a:r>
          </a:p>
          <a:p>
            <a:pPr marL="171450"/>
            <a:r>
              <a:rPr lang="en-US" sz="60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Orange</a:t>
            </a:r>
          </a:p>
          <a:p>
            <a:pPr marL="171450"/>
            <a:r>
              <a:rPr lang="en-US" sz="600"/>
              <a:t>R 255</a:t>
            </a:r>
          </a:p>
          <a:p>
            <a:pPr marL="171450"/>
            <a:r>
              <a:rPr lang="en-US" sz="600"/>
              <a:t>G 99</a:t>
            </a:r>
          </a:p>
          <a:p>
            <a:pPr marL="171450"/>
            <a:r>
              <a:rPr lang="en-US" sz="60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Green</a:t>
            </a:r>
          </a:p>
          <a:p>
            <a:pPr marL="171450"/>
            <a:r>
              <a:rPr lang="en-US" sz="600"/>
              <a:t>R 200</a:t>
            </a:r>
          </a:p>
          <a:p>
            <a:pPr marL="171450"/>
            <a:r>
              <a:rPr lang="en-US" sz="600"/>
              <a:t>G 255</a:t>
            </a:r>
          </a:p>
          <a:p>
            <a:pPr marL="171450"/>
            <a:r>
              <a:rPr lang="en-US" sz="60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urple</a:t>
            </a:r>
          </a:p>
          <a:p>
            <a:pPr marL="171450"/>
            <a:r>
              <a:rPr lang="en-US" sz="600"/>
              <a:t>R 126</a:t>
            </a:r>
          </a:p>
          <a:p>
            <a:pPr marL="171450"/>
            <a:r>
              <a:rPr lang="en-US" sz="600"/>
              <a:t>G 57</a:t>
            </a:r>
          </a:p>
          <a:p>
            <a:pPr marL="171450"/>
            <a:r>
              <a:rPr lang="en-US" sz="60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Green</a:t>
            </a:r>
          </a:p>
          <a:p>
            <a:pPr marL="171450"/>
            <a:r>
              <a:rPr lang="en-US" sz="600"/>
              <a:t>R 0</a:t>
            </a:r>
          </a:p>
          <a:p>
            <a:pPr marL="171450"/>
            <a:r>
              <a:rPr lang="en-US" sz="600"/>
              <a:t>G 195</a:t>
            </a:r>
          </a:p>
          <a:p>
            <a:pPr marL="171450"/>
            <a:r>
              <a:rPr lang="en-US" sz="60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Green</a:t>
            </a:r>
          </a:p>
          <a:p>
            <a:pPr marL="171450"/>
            <a:r>
              <a:rPr lang="en-US" sz="600"/>
              <a:t>R 21</a:t>
            </a:r>
          </a:p>
          <a:p>
            <a:pPr marL="171450"/>
            <a:r>
              <a:rPr lang="en-US" sz="600"/>
              <a:t>G 99</a:t>
            </a:r>
          </a:p>
          <a:p>
            <a:pPr marL="171450"/>
            <a:r>
              <a:rPr lang="en-US" sz="60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Aqua</a:t>
            </a:r>
          </a:p>
          <a:p>
            <a:pPr marL="171450"/>
            <a:r>
              <a:rPr lang="en-US" sz="600"/>
              <a:t>R 15</a:t>
            </a:r>
          </a:p>
          <a:p>
            <a:pPr marL="171450"/>
            <a:r>
              <a:rPr lang="en-US" sz="600"/>
              <a:t>G 153</a:t>
            </a:r>
          </a:p>
          <a:p>
            <a:pPr marL="171450"/>
            <a:r>
              <a:rPr lang="en-US" sz="60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Aqua</a:t>
            </a:r>
          </a:p>
          <a:p>
            <a:pPr marL="171450"/>
            <a:r>
              <a:rPr lang="en-US" sz="600"/>
              <a:t>R 1</a:t>
            </a:r>
          </a:p>
          <a:p>
            <a:pPr marL="171450"/>
            <a:r>
              <a:rPr lang="en-US" sz="600"/>
              <a:t>G 209</a:t>
            </a:r>
          </a:p>
          <a:p>
            <a:pPr marL="171450"/>
            <a:r>
              <a:rPr lang="en-US" sz="600"/>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each</a:t>
            </a:r>
          </a:p>
          <a:p>
            <a:pPr marL="171450"/>
            <a:r>
              <a:rPr lang="en-US" sz="600"/>
              <a:t>R 255</a:t>
            </a:r>
          </a:p>
          <a:p>
            <a:pPr marL="171450"/>
            <a:r>
              <a:rPr lang="en-US" sz="600"/>
              <a:t>G 126</a:t>
            </a:r>
          </a:p>
          <a:p>
            <a:pPr marL="171450"/>
            <a:r>
              <a:rPr lang="en-US" sz="60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Light</a:t>
            </a:r>
            <a:br>
              <a:rPr lang="en-US" sz="600" b="1"/>
            </a:br>
            <a:r>
              <a:rPr lang="en-US" sz="600" b="1"/>
              <a:t>Claret</a:t>
            </a:r>
          </a:p>
          <a:p>
            <a:pPr marL="171450"/>
            <a:r>
              <a:rPr lang="en-US" sz="600"/>
              <a:t>R 203</a:t>
            </a:r>
          </a:p>
          <a:p>
            <a:pPr marL="171450"/>
            <a:r>
              <a:rPr lang="en-US" sz="600"/>
              <a:t>G 41</a:t>
            </a:r>
          </a:p>
          <a:p>
            <a:pPr marL="171450"/>
            <a:r>
              <a:rPr lang="en-US" sz="60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laret</a:t>
            </a:r>
          </a:p>
          <a:p>
            <a:pPr marL="171450"/>
            <a:r>
              <a:rPr lang="en-US" sz="600"/>
              <a:t>R 134</a:t>
            </a:r>
          </a:p>
          <a:p>
            <a:pPr marL="171450"/>
            <a:r>
              <a:rPr lang="en-US" sz="600"/>
              <a:t>G 8</a:t>
            </a:r>
          </a:p>
          <a:p>
            <a:pPr marL="171450"/>
            <a:r>
              <a:rPr lang="en-US" sz="60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Purple</a:t>
            </a:r>
          </a:p>
          <a:p>
            <a:pPr marL="171450"/>
            <a:r>
              <a:rPr lang="en-US" sz="600"/>
              <a:t>R 71</a:t>
            </a:r>
          </a:p>
          <a:p>
            <a:pPr marL="171450"/>
            <a:r>
              <a:rPr lang="en-US" sz="600"/>
              <a:t>G 1</a:t>
            </a:r>
          </a:p>
          <a:p>
            <a:pPr marL="171450"/>
            <a:r>
              <a:rPr lang="en-US" sz="600"/>
              <a:t>B 167</a:t>
            </a:r>
          </a:p>
        </p:txBody>
      </p:sp>
    </p:spTree>
    <p:extLst>
      <p:ext uri="{BB962C8B-B14F-4D97-AF65-F5344CB8AC3E}">
        <p14:creationId xmlns:p14="http://schemas.microsoft.com/office/powerpoint/2010/main" val="542784814"/>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 id="2147483931" r:id="rId20"/>
    <p:sldLayoutId id="2147483932" r:id="rId21"/>
    <p:sldLayoutId id="2147483933" r:id="rId22"/>
    <p:sldLayoutId id="2147483935" r:id="rId23"/>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5586B75A-687E-405C-8A0B-8D00578BA2C3}" type="datetimeFigureOut">
              <a:rPr lang="en-US" dirty="0"/>
              <a:pPr/>
              <a:t>9/29/2021</a:t>
            </a:fld>
            <a:endParaRPr lang="en-US" dirty="0"/>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US" dirty="0"/>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4FAB73BC-B049-4115-A692-8D63A059BFB8}" type="slidenum">
              <a:rPr lang="en-US" dirty="0"/>
              <a:pPr/>
              <a:t>‹#›</a:t>
            </a:fld>
            <a:endParaRPr lang="en-US" dirty="0"/>
          </a:p>
        </p:txBody>
      </p:sp>
      <p:grpSp>
        <p:nvGrpSpPr>
          <p:cNvPr id="9" name="Groupe 1">
            <a:extLst>
              <a:ext uri="{FF2B5EF4-FFF2-40B4-BE49-F238E27FC236}">
                <a16:creationId xmlns:a16="http://schemas.microsoft.com/office/drawing/2014/main" id="{D7717343-B08B-4A47-9C73-F732395B7761}"/>
              </a:ext>
            </a:extLst>
          </p:cNvPr>
          <p:cNvGrpSpPr/>
          <p:nvPr userDrawn="1"/>
        </p:nvGrpSpPr>
        <p:grpSpPr>
          <a:xfrm>
            <a:off x="11501102" y="171573"/>
            <a:ext cx="419436" cy="388988"/>
            <a:chOff x="11501102" y="171573"/>
            <a:chExt cx="419436" cy="388988"/>
          </a:xfrm>
        </p:grpSpPr>
        <p:sp>
          <p:nvSpPr>
            <p:cNvPr id="10" name="Freeform 13">
              <a:extLst>
                <a:ext uri="{FF2B5EF4-FFF2-40B4-BE49-F238E27FC236}">
                  <a16:creationId xmlns:a16="http://schemas.microsoft.com/office/drawing/2014/main" id="{5151E23D-DCE1-4C46-9CC7-58954AD717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a:extLst>
                <a:ext uri="{FF2B5EF4-FFF2-40B4-BE49-F238E27FC236}">
                  <a16:creationId xmlns:a16="http://schemas.microsoft.com/office/drawing/2014/main" id="{E0E8747F-C9B1-4D58-A695-B4EF997AE45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Retângulo 43">
            <a:extLst>
              <a:ext uri="{FF2B5EF4-FFF2-40B4-BE49-F238E27FC236}">
                <a16:creationId xmlns:a16="http://schemas.microsoft.com/office/drawing/2014/main" id="{13E8F64A-A4FE-4CF3-BD94-757B1702ECB4}"/>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3" name="Text Placeholder 7">
            <a:extLst>
              <a:ext uri="{FF2B5EF4-FFF2-40B4-BE49-F238E27FC236}">
                <a16:creationId xmlns:a16="http://schemas.microsoft.com/office/drawing/2014/main" id="{9FA9C15B-988C-41B8-A663-495EC530514F}"/>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14" name="Text Placeholder 7">
            <a:extLst>
              <a:ext uri="{FF2B5EF4-FFF2-40B4-BE49-F238E27FC236}">
                <a16:creationId xmlns:a16="http://schemas.microsoft.com/office/drawing/2014/main" id="{D4FBF8B9-7183-41E3-B1DB-EEC223EF0477}"/>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15" name="Espace réservé du texte 3">
            <a:extLst>
              <a:ext uri="{FF2B5EF4-FFF2-40B4-BE49-F238E27FC236}">
                <a16:creationId xmlns:a16="http://schemas.microsoft.com/office/drawing/2014/main" id="{AB1898C7-ED14-454B-B673-9D1A0150096B}"/>
              </a:ext>
            </a:extLst>
          </p:cNvPr>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16" name="Groupe 2">
            <a:extLst>
              <a:ext uri="{FF2B5EF4-FFF2-40B4-BE49-F238E27FC236}">
                <a16:creationId xmlns:a16="http://schemas.microsoft.com/office/drawing/2014/main" id="{BE255999-6800-41EB-B938-8C09401284F1}"/>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F47C0979-E56E-4032-A457-E304031C5F8F}"/>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B748C87D-9BFE-4A03-89F3-7365D458F82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FE967CCF-6A6D-41EA-AD51-32C376FC7601}"/>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CD87F13-9C90-4C82-B0F6-C246926AF0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1" name="Rectangle 20">
              <a:extLst>
                <a:ext uri="{FF2B5EF4-FFF2-40B4-BE49-F238E27FC236}">
                  <a16:creationId xmlns:a16="http://schemas.microsoft.com/office/drawing/2014/main" id="{07A6DCE8-8D7F-415E-A0EF-4923BDAB0ED0}"/>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22" name="Groupe 4">
            <a:extLst>
              <a:ext uri="{FF2B5EF4-FFF2-40B4-BE49-F238E27FC236}">
                <a16:creationId xmlns:a16="http://schemas.microsoft.com/office/drawing/2014/main" id="{C369B189-67C1-4F4C-BBC1-AC33C56AF608}"/>
              </a:ext>
            </a:extLst>
          </p:cNvPr>
          <p:cNvGrpSpPr/>
          <p:nvPr userDrawn="1"/>
        </p:nvGrpSpPr>
        <p:grpSpPr>
          <a:xfrm>
            <a:off x="12355040" y="1954479"/>
            <a:ext cx="360000" cy="4875772"/>
            <a:chOff x="12355040" y="1954479"/>
            <a:chExt cx="360000" cy="4875772"/>
          </a:xfrm>
        </p:grpSpPr>
        <p:sp>
          <p:nvSpPr>
            <p:cNvPr id="23" name="Rectangle 22">
              <a:extLst>
                <a:ext uri="{FF2B5EF4-FFF2-40B4-BE49-F238E27FC236}">
                  <a16:creationId xmlns:a16="http://schemas.microsoft.com/office/drawing/2014/main" id="{CCD42BE2-E1A2-43B2-A88B-D9132A6707CD}"/>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24" name="Rectangle 23">
              <a:extLst>
                <a:ext uri="{FF2B5EF4-FFF2-40B4-BE49-F238E27FC236}">
                  <a16:creationId xmlns:a16="http://schemas.microsoft.com/office/drawing/2014/main" id="{C6C2388F-5E6C-4CC4-A7E4-827D4C0852B2}"/>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25" name="Rectangle 24">
              <a:extLst>
                <a:ext uri="{FF2B5EF4-FFF2-40B4-BE49-F238E27FC236}">
                  <a16:creationId xmlns:a16="http://schemas.microsoft.com/office/drawing/2014/main" id="{DAEE431B-27A1-4B1D-883D-7C40E1D2171F}"/>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B437C6BE-AC3D-451E-B32D-9F43B3881413}"/>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FD8D24BD-CF75-4AA7-8F90-F10E45163D66}"/>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0833ECD-0986-4E34-9088-E624E3339B8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01DCEBD1-F013-4EC5-A1B1-6F402B049951}"/>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B4D722C6-8A35-4326-9F1F-7771F882EEB2}"/>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id="{3F5E83AC-FE4F-45AD-9C42-2A45811D47D1}"/>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id="{96EB347F-5E0E-4B07-899B-0B1D6C43A2FF}"/>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3" name="Rectangle 32">
              <a:extLst>
                <a:ext uri="{FF2B5EF4-FFF2-40B4-BE49-F238E27FC236}">
                  <a16:creationId xmlns:a16="http://schemas.microsoft.com/office/drawing/2014/main" id="{F7AD10B6-BA5E-40A7-ADE6-FBDD5276938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4" name="Rectangle 33">
              <a:extLst>
                <a:ext uri="{FF2B5EF4-FFF2-40B4-BE49-F238E27FC236}">
                  <a16:creationId xmlns:a16="http://schemas.microsoft.com/office/drawing/2014/main" id="{8339C357-BBD1-4F96-87EF-E58134821B56}"/>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0F908D6E-9D78-4F99-A45B-CA17B90A8058}"/>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2AE2F9A3-2E52-46A4-8CBA-510108CFAD71}"/>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859867780"/>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831" r:id="rId15"/>
    <p:sldLayoutId id="2147483833" r:id="rId16"/>
    <p:sldLayoutId id="2147483837" r:id="rId17"/>
    <p:sldLayoutId id="2147483834" r:id="rId18"/>
    <p:sldLayoutId id="2147483821" r:id="rId19"/>
    <p:sldLayoutId id="2147483877" r:id="rId20"/>
  </p:sldLayoutIdLst>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tags" Target="../tags/tag18.xml"/><Relationship Id="rId4" Type="http://schemas.openxmlformats.org/officeDocument/2006/relationships/image" Target="../media/image32.emf"/></Relationships>
</file>

<file path=ppt/slides/_rels/slide1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g"/><Relationship Id="rId1" Type="http://schemas.openxmlformats.org/officeDocument/2006/relationships/slideLayout" Target="../slideLayouts/slideLayout49.xml"/><Relationship Id="rId5" Type="http://schemas.openxmlformats.org/officeDocument/2006/relationships/image" Target="../media/image58.png"/><Relationship Id="rId4" Type="http://schemas.openxmlformats.org/officeDocument/2006/relationships/image" Target="../media/image57.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D44B54-32B2-4301-8657-BC9D60681D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7FD44B54-32B2-4301-8657-BC9D60681D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86BA40-1D6B-456F-AEB4-E0871CCD6D98}"/>
              </a:ext>
            </a:extLst>
          </p:cNvPr>
          <p:cNvSpPr>
            <a:spLocks noGrp="1"/>
          </p:cNvSpPr>
          <p:nvPr>
            <p:ph type="ctrTitle"/>
          </p:nvPr>
        </p:nvSpPr>
        <p:spPr>
          <a:xfrm>
            <a:off x="7032104" y="3212976"/>
            <a:ext cx="5120208" cy="936104"/>
          </a:xfrm>
        </p:spPr>
        <p:txBody>
          <a:bodyPr/>
          <a:lstStyle/>
          <a:p>
            <a:pPr algn="ctr"/>
            <a:r>
              <a:rPr lang="en-US" sz="2400" dirty="0"/>
              <a:t>How to write an abstract that catches everyone's attention</a:t>
            </a:r>
            <a:endParaRPr lang="nb-NO" sz="2400" dirty="0"/>
          </a:p>
        </p:txBody>
      </p:sp>
      <p:sp>
        <p:nvSpPr>
          <p:cNvPr id="3" name="Subtitle 2">
            <a:extLst>
              <a:ext uri="{FF2B5EF4-FFF2-40B4-BE49-F238E27FC236}">
                <a16:creationId xmlns:a16="http://schemas.microsoft.com/office/drawing/2014/main" id="{D7CEF133-7E30-4CA7-A306-FFB21EF68ADE}"/>
              </a:ext>
            </a:extLst>
          </p:cNvPr>
          <p:cNvSpPr>
            <a:spLocks noGrp="1"/>
          </p:cNvSpPr>
          <p:nvPr>
            <p:ph type="subTitle" idx="1"/>
          </p:nvPr>
        </p:nvSpPr>
        <p:spPr>
          <a:xfrm>
            <a:off x="8112224" y="5058093"/>
            <a:ext cx="3960440" cy="253996"/>
          </a:xfrm>
        </p:spPr>
        <p:txBody>
          <a:bodyPr/>
          <a:lstStyle/>
          <a:p>
            <a:pPr algn="ctr"/>
            <a:r>
              <a:rPr lang="en-GB" b="1" dirty="0"/>
              <a:t>Johan Ludvig Brattås</a:t>
            </a:r>
          </a:p>
          <a:p>
            <a:pPr algn="ctr"/>
            <a:r>
              <a:rPr lang="en-GB" dirty="0"/>
              <a:t>Lead Solution Architect </a:t>
            </a:r>
          </a:p>
          <a:p>
            <a:pPr algn="ctr"/>
            <a:r>
              <a:rPr lang="en-GB" dirty="0"/>
              <a:t>Capgemini I&amp;D Norway</a:t>
            </a:r>
          </a:p>
          <a:p>
            <a:endParaRPr lang="en-GB" dirty="0"/>
          </a:p>
          <a:p>
            <a:r>
              <a:rPr lang="en-GB" dirty="0"/>
              <a:t> </a:t>
            </a:r>
            <a:r>
              <a:rPr lang="en-GB" sz="1400" dirty="0"/>
              <a:t>johan-ludvig.brattas@capgemini.com</a:t>
            </a:r>
          </a:p>
          <a:p>
            <a:endParaRPr lang="en-GB" dirty="0"/>
          </a:p>
          <a:p>
            <a:r>
              <a:rPr lang="en-GB" dirty="0"/>
              <a:t>29.09.2021</a:t>
            </a:r>
          </a:p>
        </p:txBody>
      </p:sp>
    </p:spTree>
    <p:extLst>
      <p:ext uri="{BB962C8B-B14F-4D97-AF65-F5344CB8AC3E}">
        <p14:creationId xmlns:p14="http://schemas.microsoft.com/office/powerpoint/2010/main" val="38080464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4" name="Rectangle 13">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A5C033C-60D3-4CB7-A8FD-E9D54D49412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The body</a:t>
            </a:r>
          </a:p>
        </p:txBody>
      </p:sp>
      <p:sp>
        <p:nvSpPr>
          <p:cNvPr id="18" name="Rectangle 17">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phic 6" descr="Body builder with solid fill">
            <a:extLst>
              <a:ext uri="{FF2B5EF4-FFF2-40B4-BE49-F238E27FC236}">
                <a16:creationId xmlns:a16="http://schemas.microsoft.com/office/drawing/2014/main" id="{C79E2990-A2E6-4285-9DE1-C5AB2377A7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0771" y="1535135"/>
            <a:ext cx="3778286" cy="3778286"/>
          </a:xfrm>
          <a:prstGeom prst="rect">
            <a:avLst/>
          </a:prstGeom>
        </p:spPr>
      </p:pic>
      <p:sp>
        <p:nvSpPr>
          <p:cNvPr id="3" name="Text Placeholder 2">
            <a:extLst>
              <a:ext uri="{FF2B5EF4-FFF2-40B4-BE49-F238E27FC236}">
                <a16:creationId xmlns:a16="http://schemas.microsoft.com/office/drawing/2014/main" id="{FF80A979-EE21-42FA-947D-39BC46B9873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r>
              <a:rPr lang="en-US" sz="2400" b="1" dirty="0">
                <a:solidFill>
                  <a:srgbClr val="FFFFFF"/>
                </a:solidFill>
              </a:rPr>
              <a:t>Target group: Program committee </a:t>
            </a:r>
          </a:p>
          <a:p>
            <a:r>
              <a:rPr lang="en-US" sz="2400" b="1" dirty="0">
                <a:solidFill>
                  <a:srgbClr val="FFFFFF"/>
                </a:solidFill>
              </a:rPr>
              <a:t>Key considerations:</a:t>
            </a:r>
          </a:p>
          <a:p>
            <a:r>
              <a:rPr lang="en-US" dirty="0">
                <a:solidFill>
                  <a:srgbClr val="FFFFFF"/>
                </a:solidFill>
              </a:rPr>
              <a:t>This is what my session will cover.</a:t>
            </a:r>
          </a:p>
          <a:p>
            <a:r>
              <a:rPr lang="en-US" dirty="0">
                <a:solidFill>
                  <a:srgbClr val="FFFFFF"/>
                </a:solidFill>
              </a:rPr>
              <a:t>Why should you pick my session?</a:t>
            </a:r>
          </a:p>
          <a:p>
            <a:r>
              <a:rPr lang="en-US" dirty="0">
                <a:solidFill>
                  <a:srgbClr val="FFFFFF"/>
                </a:solidFill>
              </a:rPr>
              <a:t>What kind of content are they looking for in their conference?</a:t>
            </a:r>
          </a:p>
          <a:p>
            <a:r>
              <a:rPr lang="en-US" dirty="0">
                <a:solidFill>
                  <a:srgbClr val="FFFFFF"/>
                </a:solidFill>
              </a:rPr>
              <a:t>Think eye-catching key words </a:t>
            </a:r>
          </a:p>
          <a:p>
            <a:endParaRPr lang="en-US" dirty="0">
              <a:solidFill>
                <a:srgbClr val="FFFFFF"/>
              </a:solidFill>
            </a:endParaRPr>
          </a:p>
          <a:p>
            <a:endParaRPr lang="en-US" dirty="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4198990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4" name="Rectangle 13">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A5C033C-60D3-4CB7-A8FD-E9D54D49412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The body</a:t>
            </a:r>
          </a:p>
        </p:txBody>
      </p:sp>
      <p:sp>
        <p:nvSpPr>
          <p:cNvPr id="18" name="Rectangle 17">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phic 6" descr="Body builder with solid fill">
            <a:extLst>
              <a:ext uri="{FF2B5EF4-FFF2-40B4-BE49-F238E27FC236}">
                <a16:creationId xmlns:a16="http://schemas.microsoft.com/office/drawing/2014/main" id="{C79E2990-A2E6-4285-9DE1-C5AB2377A7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0771" y="1535135"/>
            <a:ext cx="3778286" cy="3778286"/>
          </a:xfrm>
          <a:prstGeom prst="rect">
            <a:avLst/>
          </a:prstGeom>
        </p:spPr>
      </p:pic>
      <p:sp>
        <p:nvSpPr>
          <p:cNvPr id="3" name="Text Placeholder 2">
            <a:extLst>
              <a:ext uri="{FF2B5EF4-FFF2-40B4-BE49-F238E27FC236}">
                <a16:creationId xmlns:a16="http://schemas.microsoft.com/office/drawing/2014/main" id="{FF80A979-EE21-42FA-947D-39BC46B9873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r>
              <a:rPr lang="en-US" sz="2400" b="1" dirty="0">
                <a:solidFill>
                  <a:srgbClr val="FFFFFF"/>
                </a:solidFill>
              </a:rPr>
              <a:t>Target group: Attendees</a:t>
            </a:r>
          </a:p>
          <a:p>
            <a:r>
              <a:rPr lang="en-US" sz="2400" b="1" dirty="0">
                <a:solidFill>
                  <a:srgbClr val="FFFFFF"/>
                </a:solidFill>
              </a:rPr>
              <a:t>Key considerations:</a:t>
            </a:r>
          </a:p>
          <a:p>
            <a:r>
              <a:rPr lang="en-US" dirty="0">
                <a:solidFill>
                  <a:srgbClr val="FFFFFF"/>
                </a:solidFill>
              </a:rPr>
              <a:t>Why should you go to my session?</a:t>
            </a:r>
          </a:p>
          <a:p>
            <a:r>
              <a:rPr lang="en-US" dirty="0">
                <a:solidFill>
                  <a:srgbClr val="FFFFFF"/>
                </a:solidFill>
              </a:rPr>
              <a:t>This is what my session will cover.</a:t>
            </a:r>
          </a:p>
          <a:p>
            <a:r>
              <a:rPr lang="en-US" dirty="0">
                <a:solidFill>
                  <a:srgbClr val="FFFFFF"/>
                </a:solidFill>
              </a:rPr>
              <a:t>Think eye-catching key words </a:t>
            </a:r>
          </a:p>
          <a:p>
            <a:endParaRPr lang="en-US" dirty="0">
              <a:solidFill>
                <a:srgbClr val="FFFFFF"/>
              </a:solidFill>
            </a:endParaRPr>
          </a:p>
          <a:p>
            <a:endParaRPr lang="en-US" dirty="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4017332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4" name="Rectangle 13">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A5C033C-60D3-4CB7-A8FD-E9D54D49412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The body</a:t>
            </a:r>
          </a:p>
        </p:txBody>
      </p:sp>
      <p:sp>
        <p:nvSpPr>
          <p:cNvPr id="18" name="Rectangle 17">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phic 6" descr="Body builder with solid fill">
            <a:extLst>
              <a:ext uri="{FF2B5EF4-FFF2-40B4-BE49-F238E27FC236}">
                <a16:creationId xmlns:a16="http://schemas.microsoft.com/office/drawing/2014/main" id="{C79E2990-A2E6-4285-9DE1-C5AB2377A7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0771" y="1535135"/>
            <a:ext cx="3778286" cy="3778286"/>
          </a:xfrm>
          <a:prstGeom prst="rect">
            <a:avLst/>
          </a:prstGeom>
        </p:spPr>
      </p:pic>
      <p:sp>
        <p:nvSpPr>
          <p:cNvPr id="3" name="Text Placeholder 2">
            <a:extLst>
              <a:ext uri="{FF2B5EF4-FFF2-40B4-BE49-F238E27FC236}">
                <a16:creationId xmlns:a16="http://schemas.microsoft.com/office/drawing/2014/main" id="{FF80A979-EE21-42FA-947D-39BC46B9873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r>
              <a:rPr lang="en-US" dirty="0">
                <a:solidFill>
                  <a:srgbClr val="FFFFFF"/>
                </a:solidFill>
              </a:rPr>
              <a:t>Never write too little, you need to ensure all key considerations are covered.</a:t>
            </a:r>
          </a:p>
          <a:p>
            <a:r>
              <a:rPr lang="en-US" dirty="0" err="1">
                <a:solidFill>
                  <a:srgbClr val="FFFFFF"/>
                </a:solidFill>
              </a:rPr>
              <a:t>Humour</a:t>
            </a:r>
            <a:r>
              <a:rPr lang="en-US" dirty="0">
                <a:solidFill>
                  <a:srgbClr val="FFFFFF"/>
                </a:solidFill>
              </a:rPr>
              <a:t> can help (or not – but rarely hurts)</a:t>
            </a:r>
          </a:p>
          <a:p>
            <a:endParaRPr lang="en-US" dirty="0">
              <a:solidFill>
                <a:srgbClr val="FFFFFF"/>
              </a:solidFill>
            </a:endParaRPr>
          </a:p>
          <a:p>
            <a:r>
              <a:rPr lang="en-US" dirty="0">
                <a:solidFill>
                  <a:srgbClr val="FFFFFF"/>
                </a:solidFill>
              </a:rPr>
              <a:t>Get yourself a proof-reader. Does not have to be a techie.</a:t>
            </a:r>
          </a:p>
          <a:p>
            <a:r>
              <a:rPr lang="en-US" dirty="0">
                <a:solidFill>
                  <a:srgbClr val="FFFFFF"/>
                </a:solidFill>
              </a:rPr>
              <a:t>Do you get your message across?</a:t>
            </a: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305737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4" name="Rectangle 13">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A5C033C-60D3-4CB7-A8FD-E9D54D49412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The body</a:t>
            </a:r>
          </a:p>
        </p:txBody>
      </p:sp>
      <p:sp>
        <p:nvSpPr>
          <p:cNvPr id="18" name="Rectangle 17">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phic 6" descr="Body builder with solid fill">
            <a:extLst>
              <a:ext uri="{FF2B5EF4-FFF2-40B4-BE49-F238E27FC236}">
                <a16:creationId xmlns:a16="http://schemas.microsoft.com/office/drawing/2014/main" id="{C79E2990-A2E6-4285-9DE1-C5AB2377A7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0771" y="1535135"/>
            <a:ext cx="3778286" cy="3778286"/>
          </a:xfrm>
          <a:prstGeom prst="rect">
            <a:avLst/>
          </a:prstGeom>
        </p:spPr>
      </p:pic>
      <p:sp>
        <p:nvSpPr>
          <p:cNvPr id="3" name="Text Placeholder 2">
            <a:extLst>
              <a:ext uri="{FF2B5EF4-FFF2-40B4-BE49-F238E27FC236}">
                <a16:creationId xmlns:a16="http://schemas.microsoft.com/office/drawing/2014/main" id="{FF80A979-EE21-42FA-947D-39BC46B9873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r>
              <a:rPr lang="en-US" dirty="0">
                <a:solidFill>
                  <a:srgbClr val="FFFFFF"/>
                </a:solidFill>
              </a:rPr>
              <a:t>Check your grammar!</a:t>
            </a:r>
          </a:p>
          <a:p>
            <a:endParaRPr lang="en-US" dirty="0">
              <a:solidFill>
                <a:srgbClr val="FFFFFF"/>
              </a:solidFill>
            </a:endParaRPr>
          </a:p>
          <a:p>
            <a:r>
              <a:rPr lang="en-US" dirty="0">
                <a:solidFill>
                  <a:srgbClr val="FFFFFF"/>
                </a:solidFill>
              </a:rPr>
              <a:t>Now check it again. Your proof-reader can help here.</a:t>
            </a:r>
          </a:p>
          <a:p>
            <a:endParaRPr lang="en-US" dirty="0">
              <a:solidFill>
                <a:srgbClr val="FFFFFF"/>
              </a:solidFill>
            </a:endParaRPr>
          </a:p>
          <a:p>
            <a:r>
              <a:rPr lang="en-US" dirty="0">
                <a:solidFill>
                  <a:srgbClr val="FFFFFF"/>
                </a:solidFill>
              </a:rPr>
              <a:t>Grammarly can be of great help – just be aware of the quirks…</a:t>
            </a: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135544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7" name="Rectangle 16">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53B8648-E2A7-4F37-B3D6-429693CAE4A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a:t>The blurb</a:t>
            </a:r>
          </a:p>
        </p:txBody>
      </p:sp>
      <p:sp>
        <p:nvSpPr>
          <p:cNvPr id="21" name="Rectangle 20">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0" name="Graphic 9" descr="Voice">
            <a:extLst>
              <a:ext uri="{FF2B5EF4-FFF2-40B4-BE49-F238E27FC236}">
                <a16:creationId xmlns:a16="http://schemas.microsoft.com/office/drawing/2014/main" id="{7499F0B8-9F09-47AE-B008-C3D09E4E74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1110" y="1876779"/>
            <a:ext cx="3778286" cy="3778286"/>
          </a:xfrm>
          <a:prstGeom prst="rect">
            <a:avLst/>
          </a:prstGeom>
        </p:spPr>
      </p:pic>
      <p:sp>
        <p:nvSpPr>
          <p:cNvPr id="3" name="Text Placeholder 2">
            <a:extLst>
              <a:ext uri="{FF2B5EF4-FFF2-40B4-BE49-F238E27FC236}">
                <a16:creationId xmlns:a16="http://schemas.microsoft.com/office/drawing/2014/main" id="{FD20A92F-0D31-4D66-9535-A65B1A53C2C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r>
              <a:rPr lang="en-US" dirty="0">
                <a:solidFill>
                  <a:srgbClr val="FFFFFF"/>
                </a:solidFill>
              </a:rPr>
              <a:t>Not </a:t>
            </a:r>
            <a:r>
              <a:rPr lang="en-US" dirty="0" err="1">
                <a:solidFill>
                  <a:srgbClr val="FFFFFF"/>
                </a:solidFill>
              </a:rPr>
              <a:t>allways</a:t>
            </a:r>
            <a:r>
              <a:rPr lang="en-US" dirty="0">
                <a:solidFill>
                  <a:srgbClr val="FFFFFF"/>
                </a:solidFill>
              </a:rPr>
              <a:t> used</a:t>
            </a:r>
          </a:p>
          <a:p>
            <a:r>
              <a:rPr lang="en-US" dirty="0">
                <a:solidFill>
                  <a:srgbClr val="FFFFFF"/>
                </a:solidFill>
              </a:rPr>
              <a:t>Condensed pitch of your session</a:t>
            </a:r>
          </a:p>
          <a:p>
            <a:r>
              <a:rPr lang="en-US" dirty="0">
                <a:solidFill>
                  <a:srgbClr val="FFFFFF"/>
                </a:solidFill>
              </a:rPr>
              <a:t>Second most read part of a conference program</a:t>
            </a:r>
          </a:p>
        </p:txBody>
      </p:sp>
    </p:spTree>
    <p:extLst>
      <p:ext uri="{BB962C8B-B14F-4D97-AF65-F5344CB8AC3E}">
        <p14:creationId xmlns:p14="http://schemas.microsoft.com/office/powerpoint/2010/main" val="4008465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7" name="Rectangle 16">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53B8648-E2A7-4F37-B3D6-429693CAE4A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a:t>The blurb</a:t>
            </a:r>
          </a:p>
        </p:txBody>
      </p:sp>
      <p:sp>
        <p:nvSpPr>
          <p:cNvPr id="21" name="Rectangle 20">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0" name="Graphic 9" descr="Voice">
            <a:extLst>
              <a:ext uri="{FF2B5EF4-FFF2-40B4-BE49-F238E27FC236}">
                <a16:creationId xmlns:a16="http://schemas.microsoft.com/office/drawing/2014/main" id="{7499F0B8-9F09-47AE-B008-C3D09E4E74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1424" y="1844824"/>
            <a:ext cx="3778286" cy="3778286"/>
          </a:xfrm>
          <a:prstGeom prst="rect">
            <a:avLst/>
          </a:prstGeom>
        </p:spPr>
      </p:pic>
      <p:sp>
        <p:nvSpPr>
          <p:cNvPr id="3" name="Text Placeholder 2">
            <a:extLst>
              <a:ext uri="{FF2B5EF4-FFF2-40B4-BE49-F238E27FC236}">
                <a16:creationId xmlns:a16="http://schemas.microsoft.com/office/drawing/2014/main" id="{FD20A92F-0D31-4D66-9535-A65B1A53C2C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pPr marL="0" indent="0">
              <a:buNone/>
            </a:pPr>
            <a:r>
              <a:rPr lang="en-US" dirty="0">
                <a:solidFill>
                  <a:srgbClr val="FFFFFF"/>
                </a:solidFill>
              </a:rPr>
              <a:t>Again – as with the body:</a:t>
            </a:r>
          </a:p>
          <a:p>
            <a:r>
              <a:rPr lang="en-US" dirty="0">
                <a:solidFill>
                  <a:srgbClr val="FFFFFF"/>
                </a:solidFill>
              </a:rPr>
              <a:t>Always proof-read</a:t>
            </a:r>
          </a:p>
          <a:p>
            <a:r>
              <a:rPr lang="en-US" dirty="0">
                <a:solidFill>
                  <a:srgbClr val="FFFFFF"/>
                </a:solidFill>
              </a:rPr>
              <a:t>Always check your grammar</a:t>
            </a:r>
          </a:p>
        </p:txBody>
      </p:sp>
    </p:spTree>
    <p:extLst>
      <p:ext uri="{BB962C8B-B14F-4D97-AF65-F5344CB8AC3E}">
        <p14:creationId xmlns:p14="http://schemas.microsoft.com/office/powerpoint/2010/main" val="689633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7" name="Rectangle 16">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53B8648-E2A7-4F37-B3D6-429693CAE4A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The title</a:t>
            </a:r>
          </a:p>
        </p:txBody>
      </p:sp>
      <p:sp>
        <p:nvSpPr>
          <p:cNvPr id="21" name="Rectangle 20">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0" name="Graphic 9" descr="Subtitles with solid fill">
            <a:extLst>
              <a:ext uri="{FF2B5EF4-FFF2-40B4-BE49-F238E27FC236}">
                <a16:creationId xmlns:a16="http://schemas.microsoft.com/office/drawing/2014/main" id="{7499F0B8-9F09-47AE-B008-C3D09E4E74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11424" y="1844824"/>
            <a:ext cx="3778286" cy="3778286"/>
          </a:xfrm>
          <a:prstGeom prst="rect">
            <a:avLst/>
          </a:prstGeom>
        </p:spPr>
      </p:pic>
      <p:sp>
        <p:nvSpPr>
          <p:cNvPr id="3" name="Text Placeholder 2">
            <a:extLst>
              <a:ext uri="{FF2B5EF4-FFF2-40B4-BE49-F238E27FC236}">
                <a16:creationId xmlns:a16="http://schemas.microsoft.com/office/drawing/2014/main" id="{FD20A92F-0D31-4D66-9535-A65B1A53C2C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pPr marL="0" indent="0">
              <a:buNone/>
            </a:pPr>
            <a:r>
              <a:rPr lang="en-US" dirty="0">
                <a:solidFill>
                  <a:srgbClr val="FFFFFF"/>
                </a:solidFill>
              </a:rPr>
              <a:t>By far the most read part of a program</a:t>
            </a:r>
          </a:p>
          <a:p>
            <a:pPr marL="0" indent="0">
              <a:buNone/>
            </a:pPr>
            <a:r>
              <a:rPr lang="en-US" dirty="0">
                <a:solidFill>
                  <a:srgbClr val="FFFFFF"/>
                </a:solidFill>
              </a:rPr>
              <a:t>Attendees browse schedule, often picking session based on title.</a:t>
            </a:r>
          </a:p>
          <a:p>
            <a:pPr marL="0" indent="0">
              <a:buNone/>
            </a:pPr>
            <a:r>
              <a:rPr lang="en-US" dirty="0">
                <a:solidFill>
                  <a:srgbClr val="FFFFFF"/>
                </a:solidFill>
              </a:rPr>
              <a:t>Program committee might have to read through 100s of abstracts</a:t>
            </a:r>
          </a:p>
          <a:p>
            <a:pPr marL="0" indent="0">
              <a:buNone/>
            </a:pPr>
            <a:endParaRPr lang="en-US" dirty="0">
              <a:solidFill>
                <a:srgbClr val="FFFFFF"/>
              </a:solidFill>
            </a:endParaRPr>
          </a:p>
          <a:p>
            <a:pPr marL="0" indent="0">
              <a:buNone/>
            </a:pPr>
            <a:r>
              <a:rPr lang="en-US" dirty="0">
                <a:solidFill>
                  <a:srgbClr val="FFFFFF"/>
                </a:solidFill>
              </a:rPr>
              <a:t>The most important part of your </a:t>
            </a:r>
            <a:r>
              <a:rPr lang="en-US">
                <a:solidFill>
                  <a:srgbClr val="FFFFFF"/>
                </a:solidFill>
              </a:rPr>
              <a:t>abstract </a:t>
            </a:r>
            <a:endParaRPr lang="en-US" dirty="0">
              <a:solidFill>
                <a:srgbClr val="FFFFFF"/>
              </a:solidFill>
            </a:endParaRPr>
          </a:p>
          <a:p>
            <a:pPr marL="0" indent="0">
              <a:buNone/>
            </a:pPr>
            <a:endParaRPr lang="en-US" dirty="0">
              <a:solidFill>
                <a:srgbClr val="FFFFFF"/>
              </a:solidFill>
            </a:endParaRPr>
          </a:p>
        </p:txBody>
      </p:sp>
    </p:spTree>
    <p:extLst>
      <p:ext uri="{BB962C8B-B14F-4D97-AF65-F5344CB8AC3E}">
        <p14:creationId xmlns:p14="http://schemas.microsoft.com/office/powerpoint/2010/main" val="684539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7" name="Rectangle 16">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53B8648-E2A7-4F37-B3D6-429693CAE4A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The title</a:t>
            </a:r>
          </a:p>
        </p:txBody>
      </p:sp>
      <p:sp>
        <p:nvSpPr>
          <p:cNvPr id="21" name="Rectangle 20">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0" name="Graphic 9" descr="Subtitles with solid fill">
            <a:extLst>
              <a:ext uri="{FF2B5EF4-FFF2-40B4-BE49-F238E27FC236}">
                <a16:creationId xmlns:a16="http://schemas.microsoft.com/office/drawing/2014/main" id="{7499F0B8-9F09-47AE-B008-C3D09E4E74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11424" y="1844824"/>
            <a:ext cx="3778286" cy="3778286"/>
          </a:xfrm>
          <a:prstGeom prst="rect">
            <a:avLst/>
          </a:prstGeom>
        </p:spPr>
      </p:pic>
      <p:sp>
        <p:nvSpPr>
          <p:cNvPr id="3" name="Text Placeholder 2">
            <a:extLst>
              <a:ext uri="{FF2B5EF4-FFF2-40B4-BE49-F238E27FC236}">
                <a16:creationId xmlns:a16="http://schemas.microsoft.com/office/drawing/2014/main" id="{FD20A92F-0D31-4D66-9535-A65B1A53C2C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pPr marL="0" indent="0">
              <a:buNone/>
            </a:pPr>
            <a:r>
              <a:rPr lang="en-US" dirty="0">
                <a:solidFill>
                  <a:srgbClr val="FFFFFF"/>
                </a:solidFill>
              </a:rPr>
              <a:t>Remember, all target groups are most likely nerds…  </a:t>
            </a:r>
          </a:p>
          <a:p>
            <a:pPr marL="0" indent="0">
              <a:buNone/>
            </a:pPr>
            <a:r>
              <a:rPr lang="en-US" dirty="0" err="1">
                <a:solidFill>
                  <a:srgbClr val="FFFFFF"/>
                </a:solidFill>
              </a:rPr>
              <a:t>Humour</a:t>
            </a:r>
            <a:r>
              <a:rPr lang="en-US" dirty="0">
                <a:solidFill>
                  <a:srgbClr val="FFFFFF"/>
                </a:solidFill>
              </a:rPr>
              <a:t> *can* work</a:t>
            </a:r>
          </a:p>
          <a:p>
            <a:pPr marL="0" indent="0">
              <a:buNone/>
            </a:pPr>
            <a:r>
              <a:rPr lang="en-US" dirty="0">
                <a:solidFill>
                  <a:srgbClr val="FFFFFF"/>
                </a:solidFill>
              </a:rPr>
              <a:t>Pop-cultural references  *can* work</a:t>
            </a:r>
          </a:p>
          <a:p>
            <a:pPr marL="0" indent="0">
              <a:buNone/>
            </a:pPr>
            <a:endParaRPr lang="en-US" dirty="0">
              <a:solidFill>
                <a:srgbClr val="FFFFFF"/>
              </a:solidFill>
            </a:endParaRPr>
          </a:p>
          <a:p>
            <a:pPr marL="0" indent="0">
              <a:buNone/>
            </a:pPr>
            <a:endParaRPr lang="en-US" dirty="0">
              <a:solidFill>
                <a:srgbClr val="FFFFFF"/>
              </a:solidFill>
            </a:endParaRPr>
          </a:p>
        </p:txBody>
      </p:sp>
    </p:spTree>
    <p:extLst>
      <p:ext uri="{BB962C8B-B14F-4D97-AF65-F5344CB8AC3E}">
        <p14:creationId xmlns:p14="http://schemas.microsoft.com/office/powerpoint/2010/main" val="4083880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4" name="Rectangle 13">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A5C033C-60D3-4CB7-A8FD-E9D54D49412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Additional information</a:t>
            </a:r>
          </a:p>
        </p:txBody>
      </p:sp>
      <p:sp>
        <p:nvSpPr>
          <p:cNvPr id="18" name="Rectangle 17">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phic 6" descr="Information with solid fill">
            <a:extLst>
              <a:ext uri="{FF2B5EF4-FFF2-40B4-BE49-F238E27FC236}">
                <a16:creationId xmlns:a16="http://schemas.microsoft.com/office/drawing/2014/main" id="{C79E2990-A2E6-4285-9DE1-C5AB2377A7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0771" y="1535135"/>
            <a:ext cx="3778286" cy="3778286"/>
          </a:xfrm>
          <a:prstGeom prst="rect">
            <a:avLst/>
          </a:prstGeom>
        </p:spPr>
      </p:pic>
      <p:sp>
        <p:nvSpPr>
          <p:cNvPr id="3" name="Text Placeholder 2">
            <a:extLst>
              <a:ext uri="{FF2B5EF4-FFF2-40B4-BE49-F238E27FC236}">
                <a16:creationId xmlns:a16="http://schemas.microsoft.com/office/drawing/2014/main" id="{FF80A979-EE21-42FA-947D-39BC46B9873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endParaRPr lang="en-US" b="1" dirty="0">
              <a:solidFill>
                <a:srgbClr val="FFFFFF"/>
              </a:solidFill>
            </a:endParaRPr>
          </a:p>
          <a:p>
            <a:r>
              <a:rPr lang="en-US" dirty="0">
                <a:solidFill>
                  <a:srgbClr val="FFFFFF"/>
                </a:solidFill>
              </a:rPr>
              <a:t>Why is this important?</a:t>
            </a:r>
          </a:p>
          <a:p>
            <a:r>
              <a:rPr lang="en-US" dirty="0">
                <a:solidFill>
                  <a:srgbClr val="FFFFFF"/>
                </a:solidFill>
              </a:rPr>
              <a:t>Your chance to add messages to the program committee outside of abstract – which will be made public.</a:t>
            </a:r>
          </a:p>
        </p:txBody>
      </p:sp>
    </p:spTree>
    <p:extLst>
      <p:ext uri="{BB962C8B-B14F-4D97-AF65-F5344CB8AC3E}">
        <p14:creationId xmlns:p14="http://schemas.microsoft.com/office/powerpoint/2010/main" val="3689459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B921AA-4980-432E-AD16-0601D0AE2410}"/>
              </a:ext>
            </a:extLst>
          </p:cNvPr>
          <p:cNvSpPr>
            <a:spLocks noGrp="1"/>
          </p:cNvSpPr>
          <p:nvPr>
            <p:ph type="title"/>
          </p:nvPr>
        </p:nvSpPr>
        <p:spPr>
          <a:xfrm>
            <a:off x="550200" y="0"/>
            <a:ext cx="11091600" cy="1104900"/>
          </a:xfrm>
        </p:spPr>
        <p:txBody>
          <a:bodyPr vert="horz" lIns="0" tIns="180000" rIns="0" bIns="0" rtlCol="0" anchor="t">
            <a:normAutofit/>
          </a:bodyPr>
          <a:lstStyle/>
          <a:p>
            <a:r>
              <a:rPr lang="nb-NO" dirty="0"/>
              <a:t>DISCLAIMER</a:t>
            </a:r>
          </a:p>
        </p:txBody>
      </p:sp>
      <p:sp>
        <p:nvSpPr>
          <p:cNvPr id="5" name="TextBox 4">
            <a:extLst>
              <a:ext uri="{FF2B5EF4-FFF2-40B4-BE49-F238E27FC236}">
                <a16:creationId xmlns:a16="http://schemas.microsoft.com/office/drawing/2014/main" id="{9DBD275B-ED62-4220-AAE4-1F88C9AC9FA1}"/>
              </a:ext>
            </a:extLst>
          </p:cNvPr>
          <p:cNvSpPr txBox="1"/>
          <p:nvPr/>
        </p:nvSpPr>
        <p:spPr>
          <a:xfrm>
            <a:off x="5303912" y="1148607"/>
            <a:ext cx="6337888" cy="3845946"/>
          </a:xfrm>
          <a:prstGeom prst="rect">
            <a:avLst/>
          </a:prstGeom>
        </p:spPr>
        <p:txBody>
          <a:bodyPr vert="horz" lIns="0" tIns="0" rIns="0" bIns="0" rtlCol="0">
            <a:normAutofit/>
          </a:bodyPr>
          <a:lstStyle/>
          <a:p>
            <a:pPr>
              <a:spcAft>
                <a:spcPts val="600"/>
              </a:spcAft>
            </a:pPr>
            <a:r>
              <a:rPr lang="en-US" sz="3200" kern="1200" spc="-110" baseline="0" dirty="0">
                <a:solidFill>
                  <a:schemeClr val="accent1"/>
                </a:solidFill>
                <a:latin typeface="+mj-lt"/>
                <a:ea typeface="+mn-ea"/>
                <a:cs typeface="+mn-cs"/>
              </a:rPr>
              <a:t>There is of course no guarantee that a session will be picked, even after following all my advice…</a:t>
            </a:r>
          </a:p>
        </p:txBody>
      </p:sp>
      <p:pic>
        <p:nvPicPr>
          <p:cNvPr id="13" name="Picture 2" descr="See the source image">
            <a:extLst>
              <a:ext uri="{FF2B5EF4-FFF2-40B4-BE49-F238E27FC236}">
                <a16:creationId xmlns:a16="http://schemas.microsoft.com/office/drawing/2014/main" id="{03D49877-456E-41F6-B1FA-DF9BCCF4AC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352" y="1148607"/>
            <a:ext cx="4416491" cy="331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78552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162304-DA60-4C31-9E2B-E22F8DA75F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a:extLst>
              <a:ext uri="{FF2B5EF4-FFF2-40B4-BE49-F238E27FC236}">
                <a16:creationId xmlns:a16="http://schemas.microsoft.com/office/drawing/2014/main" id="{C4AE1EFF-264A-4A42-BEA1-0E875F40D7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2" name="Rectangle 11">
            <a:extLst>
              <a:ext uri="{FF2B5EF4-FFF2-40B4-BE49-F238E27FC236}">
                <a16:creationId xmlns:a16="http://schemas.microsoft.com/office/drawing/2014/main" id="{5DB23C2B-2054-4D8B-9E98-9190F8E05E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8797B5BC-9873-45F9-97D6-298FB5AF08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0" y="762000"/>
            <a:ext cx="4208489" cy="5334001"/>
          </a:xfrm>
          <a:custGeom>
            <a:avLst/>
            <a:gdLst>
              <a:gd name="connsiteX0" fmla="*/ 1015642 w 4208489"/>
              <a:gd name="connsiteY0" fmla="*/ 0 h 5334001"/>
              <a:gd name="connsiteX1" fmla="*/ 4208489 w 4208489"/>
              <a:gd name="connsiteY1" fmla="*/ 0 h 5334001"/>
              <a:gd name="connsiteX2" fmla="*/ 4208489 w 4208489"/>
              <a:gd name="connsiteY2" fmla="*/ 5334001 h 5334001"/>
              <a:gd name="connsiteX3" fmla="*/ 0 w 4208489"/>
              <a:gd name="connsiteY3" fmla="*/ 5334001 h 5334001"/>
            </a:gdLst>
            <a:ahLst/>
            <a:cxnLst>
              <a:cxn ang="0">
                <a:pos x="connsiteX0" y="connsiteY0"/>
              </a:cxn>
              <a:cxn ang="0">
                <a:pos x="connsiteX1" y="connsiteY1"/>
              </a:cxn>
              <a:cxn ang="0">
                <a:pos x="connsiteX2" y="connsiteY2"/>
              </a:cxn>
              <a:cxn ang="0">
                <a:pos x="connsiteX3" y="connsiteY3"/>
              </a:cxn>
            </a:cxnLst>
            <a:rect l="l" t="t" r="r" b="b"/>
            <a:pathLst>
              <a:path w="4208489" h="5334001">
                <a:moveTo>
                  <a:pt x="1015642" y="0"/>
                </a:moveTo>
                <a:lnTo>
                  <a:pt x="4208489" y="0"/>
                </a:lnTo>
                <a:lnTo>
                  <a:pt x="4208489" y="5334001"/>
                </a:lnTo>
                <a:lnTo>
                  <a:pt x="0" y="533400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5E1F3755-D47D-4D29-B98F-2DDB473C3AF0}"/>
              </a:ext>
            </a:extLst>
          </p:cNvPr>
          <p:cNvSpPr>
            <a:spLocks noGrp="1"/>
          </p:cNvSpPr>
          <p:nvPr>
            <p:ph type="title"/>
          </p:nvPr>
        </p:nvSpPr>
        <p:spPr>
          <a:xfrm>
            <a:off x="494260" y="1683144"/>
            <a:ext cx="2774922" cy="3491712"/>
          </a:xfrm>
        </p:spPr>
        <p:txBody>
          <a:bodyPr vert="horz" lIns="91440" tIns="45720" rIns="91440" bIns="45720" rtlCol="0" anchor="ctr">
            <a:normAutofit/>
          </a:bodyPr>
          <a:lstStyle/>
          <a:p>
            <a:r>
              <a:rPr lang="en-US"/>
              <a:t>Agenda</a:t>
            </a:r>
          </a:p>
        </p:txBody>
      </p:sp>
      <p:sp>
        <p:nvSpPr>
          <p:cNvPr id="3" name="Text Placeholder 2">
            <a:extLst>
              <a:ext uri="{FF2B5EF4-FFF2-40B4-BE49-F238E27FC236}">
                <a16:creationId xmlns:a16="http://schemas.microsoft.com/office/drawing/2014/main" id="{82B493E6-B3F8-4980-A006-F6A5B6CAAB85}"/>
              </a:ext>
            </a:extLst>
          </p:cNvPr>
          <p:cNvSpPr>
            <a:spLocks noGrp="1"/>
          </p:cNvSpPr>
          <p:nvPr>
            <p:ph type="body" sz="quarter" idx="10"/>
          </p:nvPr>
        </p:nvSpPr>
        <p:spPr>
          <a:xfrm>
            <a:off x="4361606" y="1683143"/>
            <a:ext cx="6627377" cy="3491713"/>
          </a:xfrm>
        </p:spPr>
        <p:txBody>
          <a:bodyPr vert="horz" lIns="91440" tIns="45720" rIns="91440" bIns="45720" rtlCol="0" anchor="ctr">
            <a:normAutofit/>
          </a:bodyPr>
          <a:lstStyle/>
          <a:p>
            <a:r>
              <a:rPr lang="en-US" sz="2800" dirty="0"/>
              <a:t>What is an abstract?</a:t>
            </a:r>
          </a:p>
          <a:p>
            <a:r>
              <a:rPr lang="en-US" sz="2800" dirty="0"/>
              <a:t>Who is it for?</a:t>
            </a:r>
          </a:p>
          <a:p>
            <a:r>
              <a:rPr lang="en-US" sz="2800" dirty="0"/>
              <a:t>The components of an abstract</a:t>
            </a:r>
          </a:p>
          <a:p>
            <a:endParaRPr lang="en-US" dirty="0"/>
          </a:p>
          <a:p>
            <a:endParaRPr lang="en-US" dirty="0"/>
          </a:p>
        </p:txBody>
      </p:sp>
      <p:sp>
        <p:nvSpPr>
          <p:cNvPr id="16" name="Freeform: Shape 15">
            <a:extLst>
              <a:ext uri="{FF2B5EF4-FFF2-40B4-BE49-F238E27FC236}">
                <a16:creationId xmlns:a16="http://schemas.microsoft.com/office/drawing/2014/main" id="{665C2FCD-09A4-4B4B-AA73-F330DFE917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1190517" y="1056875"/>
            <a:ext cx="1001483" cy="4744251"/>
          </a:xfrm>
          <a:custGeom>
            <a:avLst/>
            <a:gdLst>
              <a:gd name="connsiteX0" fmla="*/ 0 w 1001483"/>
              <a:gd name="connsiteY0" fmla="*/ 0 h 4744251"/>
              <a:gd name="connsiteX1" fmla="*/ 1001483 w 1001483"/>
              <a:gd name="connsiteY1" fmla="*/ 0 h 4744251"/>
              <a:gd name="connsiteX2" fmla="*/ 0 w 1001483"/>
              <a:gd name="connsiteY2" fmla="*/ 4744251 h 4744251"/>
            </a:gdLst>
            <a:ahLst/>
            <a:cxnLst>
              <a:cxn ang="0">
                <a:pos x="connsiteX0" y="connsiteY0"/>
              </a:cxn>
              <a:cxn ang="0">
                <a:pos x="connsiteX1" y="connsiteY1"/>
              </a:cxn>
              <a:cxn ang="0">
                <a:pos x="connsiteX2" y="connsiteY2"/>
              </a:cxn>
            </a:cxnLst>
            <a:rect l="l" t="t" r="r" b="b"/>
            <a:pathLst>
              <a:path w="1001483" h="4744251">
                <a:moveTo>
                  <a:pt x="0" y="0"/>
                </a:moveTo>
                <a:lnTo>
                  <a:pt x="1001483" y="0"/>
                </a:lnTo>
                <a:lnTo>
                  <a:pt x="0" y="474425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720272325"/>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 Placeholder 44"/>
          <p:cNvSpPr>
            <a:spLocks noGrp="1"/>
          </p:cNvSpPr>
          <p:nvPr>
            <p:ph type="body" sz="quarter" idx="4294967295"/>
          </p:nvPr>
        </p:nvSpPr>
        <p:spPr>
          <a:xfrm>
            <a:off x="436773" y="3723337"/>
            <a:ext cx="5708650" cy="541337"/>
          </a:xfrm>
        </p:spPr>
        <p:txBody>
          <a:bodyPr>
            <a:normAutofit/>
          </a:bodyPr>
          <a:lstStyle/>
          <a:p>
            <a:r>
              <a:rPr lang="en-US" dirty="0"/>
              <a:t>Lead Solutions Architect, Capgemini</a:t>
            </a:r>
          </a:p>
        </p:txBody>
      </p:sp>
      <p:sp>
        <p:nvSpPr>
          <p:cNvPr id="150" name="Text Placeholder 149"/>
          <p:cNvSpPr>
            <a:spLocks noGrp="1"/>
          </p:cNvSpPr>
          <p:nvPr>
            <p:ph type="body" sz="quarter" idx="4294967295"/>
          </p:nvPr>
        </p:nvSpPr>
        <p:spPr>
          <a:xfrm>
            <a:off x="7032104" y="1616506"/>
            <a:ext cx="4170362" cy="358775"/>
          </a:xfrm>
        </p:spPr>
        <p:txBody>
          <a:bodyPr>
            <a:normAutofit lnSpcReduction="10000"/>
          </a:bodyPr>
          <a:lstStyle/>
          <a:p>
            <a:r>
              <a:rPr lang="en-US" dirty="0"/>
              <a:t>Chronic volunteer</a:t>
            </a:r>
          </a:p>
        </p:txBody>
      </p:sp>
      <p:pic>
        <p:nvPicPr>
          <p:cNvPr id="26" name="Picture 2">
            <a:extLst>
              <a:ext uri="{FF2B5EF4-FFF2-40B4-BE49-F238E27FC236}">
                <a16:creationId xmlns:a16="http://schemas.microsoft.com/office/drawing/2014/main" id="{91477015-5811-417C-914F-5B65C77F4BB4}"/>
              </a:ext>
            </a:extLst>
          </p:cNvPr>
          <p:cNvPicPr>
            <a:picLocks noGrp="1" noChangeAspect="1" noChangeArrowheads="1"/>
          </p:cNvPicPr>
          <p:nvPr>
            <p:ph type="pic" sz="quarter" idx="4294967295"/>
          </p:nvPr>
        </p:nvPicPr>
        <p:blipFill rotWithShape="1">
          <a:blip r:embed="rId2">
            <a:extLst>
              <a:ext uri="{28A0092B-C50C-407E-A947-70E740481C1C}">
                <a14:useLocalDpi xmlns:a14="http://schemas.microsoft.com/office/drawing/2010/main" val="0"/>
              </a:ext>
            </a:extLst>
          </a:blip>
          <a:srcRect t="27479"/>
          <a:stretch/>
        </p:blipFill>
        <p:spPr bwMode="auto">
          <a:xfrm>
            <a:off x="649259" y="1669898"/>
            <a:ext cx="1901825" cy="1870075"/>
          </a:xfrm>
          <a:prstGeom prst="rect">
            <a:avLst/>
          </a:prstGeom>
          <a:noFill/>
          <a:extLst>
            <a:ext uri="{909E8E84-426E-40DD-AFC4-6F175D3DCCD1}">
              <a14:hiddenFill xmlns:a14="http://schemas.microsoft.com/office/drawing/2010/main">
                <a:solidFill>
                  <a:srgbClr val="FFFFFF"/>
                </a:solidFill>
              </a14:hiddenFill>
            </a:ext>
          </a:extLst>
        </p:spPr>
      </p:pic>
      <p:sp>
        <p:nvSpPr>
          <p:cNvPr id="152" name="Text Placeholder 151"/>
          <p:cNvSpPr>
            <a:spLocks noGrp="1"/>
          </p:cNvSpPr>
          <p:nvPr>
            <p:ph type="body" sz="quarter" idx="4294967295"/>
          </p:nvPr>
        </p:nvSpPr>
        <p:spPr>
          <a:xfrm>
            <a:off x="7070088" y="1975281"/>
            <a:ext cx="4170362" cy="911225"/>
          </a:xfrm>
        </p:spPr>
        <p:txBody>
          <a:bodyPr>
            <a:normAutofit fontScale="85000" lnSpcReduction="20000"/>
          </a:bodyPr>
          <a:lstStyle/>
          <a:p>
            <a:r>
              <a:rPr lang="en-US" dirty="0"/>
              <a:t>Co-organizer – </a:t>
            </a:r>
            <a:r>
              <a:rPr lang="en-US" dirty="0" err="1"/>
              <a:t>SQLSatOslo</a:t>
            </a:r>
            <a:br>
              <a:rPr lang="en-US" dirty="0"/>
            </a:br>
            <a:r>
              <a:rPr lang="en-US" dirty="0"/>
              <a:t>Ex Virtual Group lead – Excel BI</a:t>
            </a:r>
            <a:br>
              <a:rPr lang="en-US" dirty="0"/>
            </a:br>
            <a:r>
              <a:rPr lang="en-US" dirty="0"/>
              <a:t>Board member – MDPUG Oslo</a:t>
            </a:r>
            <a:br>
              <a:rPr lang="en-US" dirty="0"/>
            </a:br>
            <a:r>
              <a:rPr lang="en-US" dirty="0"/>
              <a:t>Frequent </a:t>
            </a:r>
            <a:r>
              <a:rPr lang="en-US" dirty="0" err="1"/>
              <a:t>voulenteer</a:t>
            </a:r>
            <a:r>
              <a:rPr lang="en-US" dirty="0"/>
              <a:t> in general for PASS</a:t>
            </a:r>
          </a:p>
          <a:p>
            <a:endParaRPr lang="en-US" dirty="0"/>
          </a:p>
        </p:txBody>
      </p:sp>
      <p:sp>
        <p:nvSpPr>
          <p:cNvPr id="153" name="Text Placeholder 152"/>
          <p:cNvSpPr>
            <a:spLocks noGrp="1"/>
          </p:cNvSpPr>
          <p:nvPr>
            <p:ph type="body" sz="quarter" idx="4294967295"/>
          </p:nvPr>
        </p:nvSpPr>
        <p:spPr>
          <a:xfrm>
            <a:off x="7032104" y="3710767"/>
            <a:ext cx="4673600" cy="358775"/>
          </a:xfrm>
        </p:spPr>
        <p:txBody>
          <a:bodyPr>
            <a:normAutofit lnSpcReduction="10000"/>
          </a:bodyPr>
          <a:lstStyle/>
          <a:p>
            <a:r>
              <a:rPr lang="en-US" dirty="0"/>
              <a:t>When not </a:t>
            </a:r>
            <a:r>
              <a:rPr lang="en-US" dirty="0" err="1"/>
              <a:t>geeking</a:t>
            </a:r>
            <a:r>
              <a:rPr lang="en-US" dirty="0"/>
              <a:t> out over new tech</a:t>
            </a:r>
          </a:p>
        </p:txBody>
      </p:sp>
      <p:sp>
        <p:nvSpPr>
          <p:cNvPr id="154" name="Text Placeholder 153"/>
          <p:cNvSpPr>
            <a:spLocks noGrp="1"/>
          </p:cNvSpPr>
          <p:nvPr>
            <p:ph type="body" sz="quarter" idx="4294967295"/>
          </p:nvPr>
        </p:nvSpPr>
        <p:spPr>
          <a:xfrm>
            <a:off x="7535342" y="4069542"/>
            <a:ext cx="4170362" cy="890587"/>
          </a:xfrm>
        </p:spPr>
        <p:txBody>
          <a:bodyPr>
            <a:normAutofit fontScale="70000" lnSpcReduction="20000"/>
          </a:bodyPr>
          <a:lstStyle/>
          <a:p>
            <a:r>
              <a:rPr lang="en-US" dirty="0"/>
              <a:t>Teaching </a:t>
            </a:r>
            <a:r>
              <a:rPr lang="en-US" dirty="0" err="1"/>
              <a:t>coeliacs</a:t>
            </a:r>
            <a:r>
              <a:rPr lang="en-US" dirty="0"/>
              <a:t> how to bake gluten free</a:t>
            </a:r>
            <a:br>
              <a:rPr lang="en-US" dirty="0"/>
            </a:br>
            <a:r>
              <a:rPr lang="en-US" dirty="0"/>
              <a:t>Baking</a:t>
            </a:r>
            <a:br>
              <a:rPr lang="en-US" dirty="0"/>
            </a:br>
            <a:r>
              <a:rPr lang="en-US" dirty="0"/>
              <a:t>Hiking</a:t>
            </a:r>
            <a:br>
              <a:rPr lang="en-US" dirty="0"/>
            </a:br>
            <a:r>
              <a:rPr lang="en-US" dirty="0"/>
              <a:t>Gardening</a:t>
            </a:r>
            <a:br>
              <a:rPr lang="en-US" dirty="0"/>
            </a:br>
            <a:endParaRPr lang="en-US" dirty="0"/>
          </a:p>
        </p:txBody>
      </p:sp>
      <p:sp>
        <p:nvSpPr>
          <p:cNvPr id="157" name="Text Placeholder 156"/>
          <p:cNvSpPr>
            <a:spLocks noGrp="1"/>
          </p:cNvSpPr>
          <p:nvPr>
            <p:ph type="body" sz="quarter" idx="4294967295"/>
          </p:nvPr>
        </p:nvSpPr>
        <p:spPr>
          <a:xfrm>
            <a:off x="1179336" y="4626864"/>
            <a:ext cx="1551619" cy="349250"/>
          </a:xfrm>
        </p:spPr>
        <p:txBody>
          <a:bodyPr>
            <a:normAutofit/>
          </a:bodyPr>
          <a:lstStyle/>
          <a:p>
            <a:r>
              <a:rPr lang="en-US" sz="1600" dirty="0"/>
              <a:t>/</a:t>
            </a:r>
            <a:r>
              <a:rPr lang="en-US" sz="1600" dirty="0" err="1"/>
              <a:t>johanludvig</a:t>
            </a:r>
            <a:endParaRPr lang="en-US" sz="1600" dirty="0"/>
          </a:p>
        </p:txBody>
      </p:sp>
      <p:sp>
        <p:nvSpPr>
          <p:cNvPr id="158" name="Text Placeholder 157"/>
          <p:cNvSpPr>
            <a:spLocks noGrp="1"/>
          </p:cNvSpPr>
          <p:nvPr>
            <p:ph type="body" sz="quarter" idx="4294967295"/>
          </p:nvPr>
        </p:nvSpPr>
        <p:spPr>
          <a:xfrm>
            <a:off x="1202192" y="5097509"/>
            <a:ext cx="1528763" cy="349250"/>
          </a:xfrm>
        </p:spPr>
        <p:txBody>
          <a:bodyPr>
            <a:normAutofit fontScale="77500" lnSpcReduction="20000"/>
          </a:bodyPr>
          <a:lstStyle/>
          <a:p>
            <a:r>
              <a:rPr lang="en-US" dirty="0"/>
              <a:t>@</a:t>
            </a:r>
            <a:r>
              <a:rPr lang="en-US" dirty="0" err="1"/>
              <a:t>intoleranse</a:t>
            </a:r>
            <a:endParaRPr lang="en-US" dirty="0"/>
          </a:p>
        </p:txBody>
      </p:sp>
      <p:grpSp>
        <p:nvGrpSpPr>
          <p:cNvPr id="8" name="Group 7">
            <a:extLst>
              <a:ext uri="{FF2B5EF4-FFF2-40B4-BE49-F238E27FC236}">
                <a16:creationId xmlns:a16="http://schemas.microsoft.com/office/drawing/2014/main" id="{DA9060E3-2F55-4D4D-8061-0FE5DFC47C0B}"/>
              </a:ext>
            </a:extLst>
          </p:cNvPr>
          <p:cNvGrpSpPr/>
          <p:nvPr/>
        </p:nvGrpSpPr>
        <p:grpSpPr>
          <a:xfrm>
            <a:off x="801086" y="5102598"/>
            <a:ext cx="306133" cy="306133"/>
            <a:chOff x="806218" y="5456655"/>
            <a:chExt cx="306133" cy="306133"/>
          </a:xfrm>
        </p:grpSpPr>
        <p:sp>
          <p:nvSpPr>
            <p:cNvPr id="92" name="Freeform 383"/>
            <p:cNvSpPr>
              <a:spLocks/>
            </p:cNvSpPr>
            <p:nvPr/>
          </p:nvSpPr>
          <p:spPr bwMode="auto">
            <a:xfrm>
              <a:off x="895850" y="5552800"/>
              <a:ext cx="137856" cy="119337"/>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lumMod val="50000"/>
              </a:schemeClr>
            </a:solidFill>
            <a:ln>
              <a:noFill/>
            </a:ln>
          </p:spPr>
          <p:txBody>
            <a:bodyPr/>
            <a:lstStyle/>
            <a:p>
              <a:pPr defTabSz="806867"/>
              <a:endParaRPr lang="en-US" sz="2400">
                <a:solidFill>
                  <a:prstClr val="black"/>
                </a:solidFill>
                <a:latin typeface="Verdana"/>
              </a:endParaRPr>
            </a:p>
          </p:txBody>
        </p:sp>
        <p:sp>
          <p:nvSpPr>
            <p:cNvPr id="93" name="Rounded Rectangle 92"/>
            <p:cNvSpPr/>
            <p:nvPr/>
          </p:nvSpPr>
          <p:spPr>
            <a:xfrm>
              <a:off x="806218" y="5456655"/>
              <a:ext cx="306133" cy="306133"/>
            </a:xfrm>
            <a:prstGeom prst="roundRect">
              <a:avLst/>
            </a:prstGeom>
            <a:no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endParaRPr lang="en-US" sz="2400">
                <a:solidFill>
                  <a:srgbClr val="FFFFFF"/>
                </a:solidFill>
                <a:latin typeface="Verdana"/>
              </a:endParaRPr>
            </a:p>
          </p:txBody>
        </p:sp>
      </p:grpSp>
      <p:grpSp>
        <p:nvGrpSpPr>
          <p:cNvPr id="7" name="Group 6">
            <a:extLst>
              <a:ext uri="{FF2B5EF4-FFF2-40B4-BE49-F238E27FC236}">
                <a16:creationId xmlns:a16="http://schemas.microsoft.com/office/drawing/2014/main" id="{8597DE99-B5F8-4B7E-BB1F-3D246B269017}"/>
              </a:ext>
            </a:extLst>
          </p:cNvPr>
          <p:cNvGrpSpPr/>
          <p:nvPr/>
        </p:nvGrpSpPr>
        <p:grpSpPr>
          <a:xfrm>
            <a:off x="801086" y="4631730"/>
            <a:ext cx="306133" cy="306133"/>
            <a:chOff x="801086" y="4963170"/>
            <a:chExt cx="306133" cy="306133"/>
          </a:xfrm>
        </p:grpSpPr>
        <p:sp>
          <p:nvSpPr>
            <p:cNvPr id="95" name="Rounded Rectangle 94"/>
            <p:cNvSpPr/>
            <p:nvPr/>
          </p:nvSpPr>
          <p:spPr>
            <a:xfrm>
              <a:off x="801086" y="4963170"/>
              <a:ext cx="306133" cy="306133"/>
            </a:xfrm>
            <a:prstGeom prst="roundRect">
              <a:avLst/>
            </a:prstGeom>
            <a:no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endParaRPr lang="en-US" sz="2400">
                <a:solidFill>
                  <a:srgbClr val="FFFFFF"/>
                </a:solidFill>
                <a:latin typeface="Verdana"/>
              </a:endParaRPr>
            </a:p>
          </p:txBody>
        </p:sp>
        <p:grpSp>
          <p:nvGrpSpPr>
            <p:cNvPr id="96" name="Group 1216"/>
            <p:cNvGrpSpPr>
              <a:grpSpLocks/>
            </p:cNvGrpSpPr>
            <p:nvPr/>
          </p:nvGrpSpPr>
          <p:grpSpPr bwMode="auto">
            <a:xfrm>
              <a:off x="891215" y="5041154"/>
              <a:ext cx="135443" cy="135440"/>
              <a:chOff x="8400256" y="3573016"/>
              <a:chExt cx="423863" cy="422275"/>
            </a:xfrm>
            <a:solidFill>
              <a:schemeClr val="tx1"/>
            </a:solidFill>
          </p:grpSpPr>
          <p:sp>
            <p:nvSpPr>
              <p:cNvPr id="97" name="Oval 315"/>
              <p:cNvSpPr>
                <a:spLocks noChangeArrowheads="1"/>
              </p:cNvSpPr>
              <p:nvPr/>
            </p:nvSpPr>
            <p:spPr bwMode="auto">
              <a:xfrm>
                <a:off x="8400256" y="3573016"/>
                <a:ext cx="103188" cy="101600"/>
              </a:xfrm>
              <a:prstGeom prst="ellipse">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defTabSz="806867"/>
                <a:endParaRPr lang="en-AU" altLang="x-none" sz="2400">
                  <a:solidFill>
                    <a:prstClr val="black"/>
                  </a:solidFill>
                </a:endParaRPr>
              </a:p>
            </p:txBody>
          </p:sp>
          <p:sp>
            <p:nvSpPr>
              <p:cNvPr id="98" name="Rectangle 316"/>
              <p:cNvSpPr>
                <a:spLocks noChangeArrowheads="1"/>
              </p:cNvSpPr>
              <p:nvPr/>
            </p:nvSpPr>
            <p:spPr bwMode="auto">
              <a:xfrm>
                <a:off x="8408194" y="3714304"/>
                <a:ext cx="87313" cy="28098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defTabSz="806867"/>
                <a:endParaRPr lang="en-AU" altLang="x-none" sz="2400">
                  <a:solidFill>
                    <a:prstClr val="black"/>
                  </a:solidFill>
                </a:endParaRPr>
              </a:p>
            </p:txBody>
          </p:sp>
          <p:sp>
            <p:nvSpPr>
              <p:cNvPr id="99" name="Freeform 317"/>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806867"/>
                <a:endParaRPr lang="en-US" sz="2400">
                  <a:solidFill>
                    <a:prstClr val="black"/>
                  </a:solidFill>
                  <a:latin typeface="Verdana"/>
                </a:endParaRPr>
              </a:p>
            </p:txBody>
          </p:sp>
        </p:grpSp>
      </p:grpSp>
      <p:sp>
        <p:nvSpPr>
          <p:cNvPr id="21" name="Text Placeholder 157">
            <a:extLst>
              <a:ext uri="{FF2B5EF4-FFF2-40B4-BE49-F238E27FC236}">
                <a16:creationId xmlns:a16="http://schemas.microsoft.com/office/drawing/2014/main" id="{A76F531F-10B1-4D71-B78E-D1BD67E4BD10}"/>
              </a:ext>
            </a:extLst>
          </p:cNvPr>
          <p:cNvSpPr txBox="1">
            <a:spLocks/>
          </p:cNvSpPr>
          <p:nvPr/>
        </p:nvSpPr>
        <p:spPr>
          <a:xfrm>
            <a:off x="1179336" y="5528022"/>
            <a:ext cx="4140379" cy="349250"/>
          </a:xfrm>
        </p:spPr>
        <p:txBody>
          <a:bodyPr/>
          <a:lstStyle>
            <a:lvl1pPr marL="0" indent="0" algn="l" defTabSz="1381750" rtl="0" eaLnBrk="1" latinLnBrk="0" hangingPunct="1">
              <a:lnSpc>
                <a:spcPct val="90000"/>
              </a:lnSpc>
              <a:spcBef>
                <a:spcPts val="1133"/>
              </a:spcBef>
              <a:buFont typeface="Arial" panose="020B0604020202020204" pitchFamily="34" charset="0"/>
              <a:buNone/>
              <a:defRPr lang="en-US" sz="1662" kern="1200" dirty="0">
                <a:solidFill>
                  <a:schemeClr val="accent1"/>
                </a:solidFill>
                <a:latin typeface="+mn-lt"/>
                <a:ea typeface="+mn-ea"/>
                <a:cs typeface="+mn-cs"/>
              </a:defRPr>
            </a:lvl1pPr>
            <a:lvl2pPr marL="611699" indent="-203300" algn="l" defTabSz="1036290" rtl="0" eaLnBrk="1" latinLnBrk="0" hangingPunct="1">
              <a:lnSpc>
                <a:spcPct val="90000"/>
              </a:lnSpc>
              <a:spcBef>
                <a:spcPts val="567"/>
              </a:spcBef>
              <a:buClr>
                <a:schemeClr val="accent1"/>
              </a:buClr>
              <a:buFont typeface="Arial" panose="020B0604020202020204" pitchFamily="34" charset="0"/>
              <a:buChar char="•"/>
              <a:defRPr sz="2040" kern="1200">
                <a:solidFill>
                  <a:schemeClr val="tx1"/>
                </a:solidFill>
                <a:latin typeface="+mj-lt"/>
                <a:ea typeface="+mn-ea"/>
                <a:cs typeface="+mn-cs"/>
              </a:defRPr>
            </a:lvl2pPr>
            <a:lvl3pPr marL="1020098" indent="-203300" algn="l" defTabSz="1036290" rtl="0" eaLnBrk="1" latinLnBrk="0" hangingPunct="1">
              <a:lnSpc>
                <a:spcPct val="90000"/>
              </a:lnSpc>
              <a:spcBef>
                <a:spcPts val="567"/>
              </a:spcBef>
              <a:buClr>
                <a:schemeClr val="accent2"/>
              </a:buClr>
              <a:buFont typeface="Arial" panose="020B0604020202020204" pitchFamily="34" charset="0"/>
              <a:buChar char="•"/>
              <a:defRPr sz="1813" kern="1200">
                <a:solidFill>
                  <a:schemeClr val="tx1"/>
                </a:solidFill>
                <a:latin typeface="+mj-lt"/>
                <a:ea typeface="+mn-ea"/>
                <a:cs typeface="+mn-cs"/>
              </a:defRPr>
            </a:lvl3pPr>
            <a:lvl4pPr marL="1428496" indent="-203300" algn="l" defTabSz="1036290" rtl="0" eaLnBrk="1" latinLnBrk="0" hangingPunct="1">
              <a:lnSpc>
                <a:spcPct val="90000"/>
              </a:lnSpc>
              <a:spcBef>
                <a:spcPts val="567"/>
              </a:spcBef>
              <a:buClr>
                <a:schemeClr val="accent3"/>
              </a:buClr>
              <a:buFont typeface="Arial" panose="020B0604020202020204" pitchFamily="34" charset="0"/>
              <a:buChar char="•"/>
              <a:defRPr sz="1587" kern="1200">
                <a:solidFill>
                  <a:schemeClr val="tx1"/>
                </a:solidFill>
                <a:latin typeface="+mj-lt"/>
                <a:ea typeface="+mn-ea"/>
                <a:cs typeface="+mn-cs"/>
              </a:defRPr>
            </a:lvl4pPr>
            <a:lvl5pPr marL="1836896" indent="-203300" algn="l" defTabSz="1036290" rtl="0" eaLnBrk="1" latinLnBrk="0" hangingPunct="1">
              <a:lnSpc>
                <a:spcPct val="90000"/>
              </a:lnSpc>
              <a:spcBef>
                <a:spcPts val="567"/>
              </a:spcBef>
              <a:buClr>
                <a:schemeClr val="accent5"/>
              </a:buClr>
              <a:buFont typeface="Arial" panose="020B0604020202020204" pitchFamily="34" charset="0"/>
              <a:buChar char="•"/>
              <a:defRPr sz="1587" kern="1200">
                <a:solidFill>
                  <a:schemeClr val="tx1"/>
                </a:solidFill>
                <a:latin typeface="+mj-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defTabSz="1219256">
              <a:spcBef>
                <a:spcPts val="1000"/>
              </a:spcBef>
            </a:pPr>
            <a:r>
              <a:rPr lang="nb-NO" sz="1467" dirty="0">
                <a:solidFill>
                  <a:srgbClr val="0070AD"/>
                </a:solidFill>
                <a:latin typeface="Verdana"/>
              </a:rPr>
              <a:t>johan-ludvig.brattas@capgemini.com</a:t>
            </a:r>
          </a:p>
        </p:txBody>
      </p:sp>
      <p:pic>
        <p:nvPicPr>
          <p:cNvPr id="4" name="Graphic 3" descr="Envelope">
            <a:extLst>
              <a:ext uri="{FF2B5EF4-FFF2-40B4-BE49-F238E27FC236}">
                <a16:creationId xmlns:a16="http://schemas.microsoft.com/office/drawing/2014/main" id="{CE7DF72A-A166-4B3C-8765-0BE0A6996CA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5939" y="5501440"/>
            <a:ext cx="337677" cy="337677"/>
          </a:xfrm>
          <a:prstGeom prst="rect">
            <a:avLst/>
          </a:prstGeom>
        </p:spPr>
      </p:pic>
      <p:pic>
        <p:nvPicPr>
          <p:cNvPr id="3" name="Picture 2" descr="A picture containing application&#10;&#10;Description automatically generated">
            <a:extLst>
              <a:ext uri="{FF2B5EF4-FFF2-40B4-BE49-F238E27FC236}">
                <a16:creationId xmlns:a16="http://schemas.microsoft.com/office/drawing/2014/main" id="{26F2A0F1-0877-4AFB-ADDA-A6A8D4B0C4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02998" y="1681360"/>
            <a:ext cx="548086" cy="548086"/>
          </a:xfrm>
          <a:prstGeom prst="rect">
            <a:avLst/>
          </a:prstGeom>
        </p:spPr>
      </p:pic>
    </p:spTree>
    <p:extLst>
      <p:ext uri="{BB962C8B-B14F-4D97-AF65-F5344CB8AC3E}">
        <p14:creationId xmlns:p14="http://schemas.microsoft.com/office/powerpoint/2010/main" val="12967711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43162304-DA60-4C31-9E2B-E22F8DA75F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9">
            <a:extLst>
              <a:ext uri="{FF2B5EF4-FFF2-40B4-BE49-F238E27FC236}">
                <a16:creationId xmlns:a16="http://schemas.microsoft.com/office/drawing/2014/main" id="{C4AE1EFF-264A-4A42-BEA1-0E875F40D7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20" name="Rectangle 11">
            <a:extLst>
              <a:ext uri="{FF2B5EF4-FFF2-40B4-BE49-F238E27FC236}">
                <a16:creationId xmlns:a16="http://schemas.microsoft.com/office/drawing/2014/main" id="{5DB23C2B-2054-4D8B-9E98-9190F8E05E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13">
            <a:extLst>
              <a:ext uri="{FF2B5EF4-FFF2-40B4-BE49-F238E27FC236}">
                <a16:creationId xmlns:a16="http://schemas.microsoft.com/office/drawing/2014/main" id="{8797B5BC-9873-45F9-97D6-298FB5AF08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0" y="762000"/>
            <a:ext cx="4208489" cy="5334001"/>
          </a:xfrm>
          <a:custGeom>
            <a:avLst/>
            <a:gdLst>
              <a:gd name="connsiteX0" fmla="*/ 1015642 w 4208489"/>
              <a:gd name="connsiteY0" fmla="*/ 0 h 5334001"/>
              <a:gd name="connsiteX1" fmla="*/ 4208489 w 4208489"/>
              <a:gd name="connsiteY1" fmla="*/ 0 h 5334001"/>
              <a:gd name="connsiteX2" fmla="*/ 4208489 w 4208489"/>
              <a:gd name="connsiteY2" fmla="*/ 5334001 h 5334001"/>
              <a:gd name="connsiteX3" fmla="*/ 0 w 4208489"/>
              <a:gd name="connsiteY3" fmla="*/ 5334001 h 5334001"/>
            </a:gdLst>
            <a:ahLst/>
            <a:cxnLst>
              <a:cxn ang="0">
                <a:pos x="connsiteX0" y="connsiteY0"/>
              </a:cxn>
              <a:cxn ang="0">
                <a:pos x="connsiteX1" y="connsiteY1"/>
              </a:cxn>
              <a:cxn ang="0">
                <a:pos x="connsiteX2" y="connsiteY2"/>
              </a:cxn>
              <a:cxn ang="0">
                <a:pos x="connsiteX3" y="connsiteY3"/>
              </a:cxn>
            </a:cxnLst>
            <a:rect l="l" t="t" r="r" b="b"/>
            <a:pathLst>
              <a:path w="4208489" h="5334001">
                <a:moveTo>
                  <a:pt x="1015642" y="0"/>
                </a:moveTo>
                <a:lnTo>
                  <a:pt x="4208489" y="0"/>
                </a:lnTo>
                <a:lnTo>
                  <a:pt x="4208489" y="5334001"/>
                </a:lnTo>
                <a:lnTo>
                  <a:pt x="0" y="533400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6D4A07D3-9D54-4F98-A003-F4F6E408206A}"/>
              </a:ext>
            </a:extLst>
          </p:cNvPr>
          <p:cNvSpPr>
            <a:spLocks noGrp="1"/>
          </p:cNvSpPr>
          <p:nvPr>
            <p:ph type="title"/>
          </p:nvPr>
        </p:nvSpPr>
        <p:spPr>
          <a:xfrm>
            <a:off x="369284" y="980491"/>
            <a:ext cx="3150865" cy="3491712"/>
          </a:xfrm>
        </p:spPr>
        <p:txBody>
          <a:bodyPr vert="horz" lIns="91440" tIns="45720" rIns="91440" bIns="45720" rtlCol="0" anchor="ctr">
            <a:normAutofit/>
          </a:bodyPr>
          <a:lstStyle/>
          <a:p>
            <a:r>
              <a:rPr lang="en-US" sz="4000" b="1" dirty="0"/>
              <a:t>So, what is an abstract?</a:t>
            </a:r>
          </a:p>
        </p:txBody>
      </p:sp>
      <p:sp>
        <p:nvSpPr>
          <p:cNvPr id="3" name="Text Placeholder 2">
            <a:extLst>
              <a:ext uri="{FF2B5EF4-FFF2-40B4-BE49-F238E27FC236}">
                <a16:creationId xmlns:a16="http://schemas.microsoft.com/office/drawing/2014/main" id="{17EC6D98-D1C8-4C43-9C1D-6B33C939032A}"/>
              </a:ext>
            </a:extLst>
          </p:cNvPr>
          <p:cNvSpPr>
            <a:spLocks noGrp="1"/>
          </p:cNvSpPr>
          <p:nvPr>
            <p:ph type="body" sz="quarter" idx="10"/>
          </p:nvPr>
        </p:nvSpPr>
        <p:spPr>
          <a:xfrm>
            <a:off x="4361606" y="1683143"/>
            <a:ext cx="6627377" cy="3491713"/>
          </a:xfrm>
        </p:spPr>
        <p:txBody>
          <a:bodyPr vert="horz" lIns="91440" tIns="45720" rIns="91440" bIns="45720" rtlCol="0" anchor="ctr">
            <a:normAutofit/>
          </a:bodyPr>
          <a:lstStyle/>
          <a:p>
            <a:r>
              <a:rPr lang="en-US" sz="2800" dirty="0"/>
              <a:t>A brief summary of your session</a:t>
            </a:r>
          </a:p>
          <a:p>
            <a:r>
              <a:rPr lang="en-US" sz="2800" dirty="0"/>
              <a:t>Also called précis or synopsis</a:t>
            </a:r>
          </a:p>
          <a:p>
            <a:r>
              <a:rPr lang="en-US" sz="2800" b="1" dirty="0"/>
              <a:t>It is your elevator pitch</a:t>
            </a:r>
          </a:p>
          <a:p>
            <a:endParaRPr lang="en-US" sz="2800" dirty="0"/>
          </a:p>
          <a:p>
            <a:endParaRPr lang="en-US" sz="2800" dirty="0"/>
          </a:p>
        </p:txBody>
      </p:sp>
      <p:sp>
        <p:nvSpPr>
          <p:cNvPr id="22" name="Freeform: Shape 15">
            <a:extLst>
              <a:ext uri="{FF2B5EF4-FFF2-40B4-BE49-F238E27FC236}">
                <a16:creationId xmlns:a16="http://schemas.microsoft.com/office/drawing/2014/main" id="{665C2FCD-09A4-4B4B-AA73-F330DFE917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1190517" y="1056875"/>
            <a:ext cx="1001483" cy="4744251"/>
          </a:xfrm>
          <a:custGeom>
            <a:avLst/>
            <a:gdLst>
              <a:gd name="connsiteX0" fmla="*/ 0 w 1001483"/>
              <a:gd name="connsiteY0" fmla="*/ 0 h 4744251"/>
              <a:gd name="connsiteX1" fmla="*/ 1001483 w 1001483"/>
              <a:gd name="connsiteY1" fmla="*/ 0 h 4744251"/>
              <a:gd name="connsiteX2" fmla="*/ 0 w 1001483"/>
              <a:gd name="connsiteY2" fmla="*/ 4744251 h 4744251"/>
            </a:gdLst>
            <a:ahLst/>
            <a:cxnLst>
              <a:cxn ang="0">
                <a:pos x="connsiteX0" y="connsiteY0"/>
              </a:cxn>
              <a:cxn ang="0">
                <a:pos x="connsiteX1" y="connsiteY1"/>
              </a:cxn>
              <a:cxn ang="0">
                <a:pos x="connsiteX2" y="connsiteY2"/>
              </a:cxn>
            </a:cxnLst>
            <a:rect l="l" t="t" r="r" b="b"/>
            <a:pathLst>
              <a:path w="1001483" h="4744251">
                <a:moveTo>
                  <a:pt x="0" y="0"/>
                </a:moveTo>
                <a:lnTo>
                  <a:pt x="1001483" y="0"/>
                </a:lnTo>
                <a:lnTo>
                  <a:pt x="0" y="474425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06316307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 name="Rectangle 28">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5" name="Rectangle 30">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46" name="Rectangle 32">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34">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66B20FD1-8745-422F-B58C-B3F26580EE8E}"/>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Who is your abstract for?</a:t>
            </a:r>
          </a:p>
        </p:txBody>
      </p:sp>
      <p:sp>
        <p:nvSpPr>
          <p:cNvPr id="48" name="Rectangle 36">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5" name="Picture 4">
            <a:extLst>
              <a:ext uri="{FF2B5EF4-FFF2-40B4-BE49-F238E27FC236}">
                <a16:creationId xmlns:a16="http://schemas.microsoft.com/office/drawing/2014/main" id="{C8E15A8A-69AD-4971-860C-D92E3CE217F3}"/>
              </a:ext>
            </a:extLst>
          </p:cNvPr>
          <p:cNvPicPr>
            <a:picLocks noChangeAspect="1"/>
          </p:cNvPicPr>
          <p:nvPr/>
        </p:nvPicPr>
        <p:blipFill rotWithShape="1">
          <a:blip r:embed="rId2"/>
          <a:srcRect l="1682" r="1275" b="-2"/>
          <a:stretch/>
        </p:blipFill>
        <p:spPr>
          <a:xfrm>
            <a:off x="860771" y="1501866"/>
            <a:ext cx="3778286" cy="3844823"/>
          </a:xfrm>
          <a:prstGeom prst="rect">
            <a:avLst/>
          </a:prstGeom>
        </p:spPr>
      </p:pic>
      <p:sp>
        <p:nvSpPr>
          <p:cNvPr id="3" name="Text Placeholder 2">
            <a:extLst>
              <a:ext uri="{FF2B5EF4-FFF2-40B4-BE49-F238E27FC236}">
                <a16:creationId xmlns:a16="http://schemas.microsoft.com/office/drawing/2014/main" id="{C1CD9C78-243A-45F6-B85A-F825D05D22AD}"/>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pPr marL="0"/>
            <a:r>
              <a:rPr lang="en-US" sz="2800" dirty="0">
                <a:solidFill>
                  <a:srgbClr val="FFFFFF"/>
                </a:solidFill>
              </a:rPr>
              <a:t>3 target groups :</a:t>
            </a:r>
          </a:p>
          <a:p>
            <a:r>
              <a:rPr lang="en-US" sz="2800" dirty="0">
                <a:solidFill>
                  <a:srgbClr val="FFFFFF"/>
                </a:solidFill>
              </a:rPr>
              <a:t>The program committee</a:t>
            </a:r>
          </a:p>
          <a:p>
            <a:r>
              <a:rPr lang="en-US" sz="2800" dirty="0">
                <a:solidFill>
                  <a:srgbClr val="FFFFFF"/>
                </a:solidFill>
              </a:rPr>
              <a:t>The attendees</a:t>
            </a:r>
          </a:p>
          <a:p>
            <a:r>
              <a:rPr lang="en-US" sz="2800" dirty="0">
                <a:solidFill>
                  <a:srgbClr val="FFFFFF"/>
                </a:solidFill>
              </a:rPr>
              <a:t>Yourself</a:t>
            </a:r>
          </a:p>
          <a:p>
            <a:endParaRPr lang="en-US" sz="2800" dirty="0">
              <a:solidFill>
                <a:srgbClr val="FFFFFF"/>
              </a:solidFill>
            </a:endParaRPr>
          </a:p>
        </p:txBody>
      </p:sp>
    </p:spTree>
    <p:extLst>
      <p:ext uri="{BB962C8B-B14F-4D97-AF65-F5344CB8AC3E}">
        <p14:creationId xmlns:p14="http://schemas.microsoft.com/office/powerpoint/2010/main" val="3540191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45DB188-4006-4207-A473-B4B569C5B5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a:extLst>
              <a:ext uri="{FF2B5EF4-FFF2-40B4-BE49-F238E27FC236}">
                <a16:creationId xmlns:a16="http://schemas.microsoft.com/office/drawing/2014/main" id="{BAB4522D-D095-4687-BFB3-976E665AD4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CDF7C9B3-01BE-4D46-ACA2-312DFE36A1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62000"/>
            <a:ext cx="3443591" cy="53400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EDF0F76F-A36C-4D1F-850C-052E8FEBEA76}"/>
              </a:ext>
            </a:extLst>
          </p:cNvPr>
          <p:cNvSpPr>
            <a:spLocks noGrp="1"/>
          </p:cNvSpPr>
          <p:nvPr>
            <p:ph type="title"/>
          </p:nvPr>
        </p:nvSpPr>
        <p:spPr>
          <a:xfrm>
            <a:off x="252919" y="1123837"/>
            <a:ext cx="2947482" cy="4601183"/>
          </a:xfrm>
        </p:spPr>
        <p:txBody>
          <a:bodyPr vert="horz" lIns="91440" tIns="45720" rIns="91440" bIns="45720" rtlCol="0" anchor="ctr">
            <a:normAutofit/>
          </a:bodyPr>
          <a:lstStyle/>
          <a:p>
            <a:r>
              <a:rPr lang="en-US">
                <a:solidFill>
                  <a:schemeClr val="bg1"/>
                </a:solidFill>
              </a:rPr>
              <a:t>The components of an abstract</a:t>
            </a:r>
          </a:p>
        </p:txBody>
      </p:sp>
      <p:graphicFrame>
        <p:nvGraphicFramePr>
          <p:cNvPr id="5" name="Text Placeholder 2">
            <a:extLst>
              <a:ext uri="{FF2B5EF4-FFF2-40B4-BE49-F238E27FC236}">
                <a16:creationId xmlns:a16="http://schemas.microsoft.com/office/drawing/2014/main" id="{9D22954C-93EC-43E9-BC3A-5B915BB39FD7}"/>
              </a:ext>
            </a:extLst>
          </p:cNvPr>
          <p:cNvGraphicFramePr/>
          <p:nvPr>
            <p:extLst>
              <p:ext uri="{D42A27DB-BD31-4B8C-83A1-F6EECF244321}">
                <p14:modId xmlns:p14="http://schemas.microsoft.com/office/powerpoint/2010/main" val="544632384"/>
              </p:ext>
            </p:extLst>
          </p:nvPr>
        </p:nvGraphicFramePr>
        <p:xfrm>
          <a:off x="4059935" y="758952"/>
          <a:ext cx="7104549" cy="53309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31240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4" name="Rectangle 13">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A5C033C-60D3-4CB7-A8FD-E9D54D49412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Additional information</a:t>
            </a:r>
          </a:p>
        </p:txBody>
      </p:sp>
      <p:sp>
        <p:nvSpPr>
          <p:cNvPr id="18" name="Rectangle 17">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phic 6" descr="Information with solid fill">
            <a:extLst>
              <a:ext uri="{FF2B5EF4-FFF2-40B4-BE49-F238E27FC236}">
                <a16:creationId xmlns:a16="http://schemas.microsoft.com/office/drawing/2014/main" id="{C79E2990-A2E6-4285-9DE1-C5AB2377A7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0771" y="1535135"/>
            <a:ext cx="3778286" cy="3778286"/>
          </a:xfrm>
          <a:prstGeom prst="rect">
            <a:avLst/>
          </a:prstGeom>
        </p:spPr>
      </p:pic>
      <p:sp>
        <p:nvSpPr>
          <p:cNvPr id="3" name="Text Placeholder 2">
            <a:extLst>
              <a:ext uri="{FF2B5EF4-FFF2-40B4-BE49-F238E27FC236}">
                <a16:creationId xmlns:a16="http://schemas.microsoft.com/office/drawing/2014/main" id="{FF80A979-EE21-42FA-947D-39BC46B9873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r>
              <a:rPr lang="en-US" b="1" dirty="0">
                <a:solidFill>
                  <a:srgbClr val="FFFFFF"/>
                </a:solidFill>
              </a:rPr>
              <a:t>What level is your session?</a:t>
            </a:r>
          </a:p>
          <a:p>
            <a:r>
              <a:rPr lang="en-US" dirty="0">
                <a:solidFill>
                  <a:srgbClr val="FFFFFF"/>
                </a:solidFill>
              </a:rPr>
              <a:t>100 – Introductory/ at a glance</a:t>
            </a:r>
          </a:p>
          <a:p>
            <a:r>
              <a:rPr lang="en-US" dirty="0">
                <a:solidFill>
                  <a:srgbClr val="FFFFFF"/>
                </a:solidFill>
              </a:rPr>
              <a:t>200 – Slightly closer look</a:t>
            </a:r>
          </a:p>
          <a:p>
            <a:r>
              <a:rPr lang="en-US" dirty="0">
                <a:solidFill>
                  <a:srgbClr val="FFFFFF"/>
                </a:solidFill>
              </a:rPr>
              <a:t>300 – Hands on details</a:t>
            </a:r>
          </a:p>
          <a:p>
            <a:r>
              <a:rPr lang="en-US" dirty="0">
                <a:solidFill>
                  <a:srgbClr val="FFFFFF"/>
                </a:solidFill>
              </a:rPr>
              <a:t>400-500 – Expert level</a:t>
            </a:r>
          </a:p>
          <a:p>
            <a:endParaRPr lang="en-US" dirty="0">
              <a:solidFill>
                <a:srgbClr val="FFFFFF"/>
              </a:solidFill>
            </a:endParaRPr>
          </a:p>
        </p:txBody>
      </p:sp>
    </p:spTree>
    <p:extLst>
      <p:ext uri="{BB962C8B-B14F-4D97-AF65-F5344CB8AC3E}">
        <p14:creationId xmlns:p14="http://schemas.microsoft.com/office/powerpoint/2010/main" val="2054482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4" name="Rectangle 13">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A5C033C-60D3-4CB7-A8FD-E9D54D49412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Additional information</a:t>
            </a:r>
          </a:p>
        </p:txBody>
      </p:sp>
      <p:sp>
        <p:nvSpPr>
          <p:cNvPr id="18" name="Rectangle 17">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phic 6" descr="Information with solid fill">
            <a:extLst>
              <a:ext uri="{FF2B5EF4-FFF2-40B4-BE49-F238E27FC236}">
                <a16:creationId xmlns:a16="http://schemas.microsoft.com/office/drawing/2014/main" id="{C79E2990-A2E6-4285-9DE1-C5AB2377A7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0771" y="1535135"/>
            <a:ext cx="3778286" cy="3778286"/>
          </a:xfrm>
          <a:prstGeom prst="rect">
            <a:avLst/>
          </a:prstGeom>
        </p:spPr>
      </p:pic>
      <p:sp>
        <p:nvSpPr>
          <p:cNvPr id="3" name="Text Placeholder 2">
            <a:extLst>
              <a:ext uri="{FF2B5EF4-FFF2-40B4-BE49-F238E27FC236}">
                <a16:creationId xmlns:a16="http://schemas.microsoft.com/office/drawing/2014/main" id="{FF80A979-EE21-42FA-947D-39BC46B9873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r>
              <a:rPr lang="en-US" b="1" dirty="0">
                <a:solidFill>
                  <a:srgbClr val="FFFFFF"/>
                </a:solidFill>
              </a:rPr>
              <a:t>What level is your session?</a:t>
            </a:r>
          </a:p>
          <a:p>
            <a:r>
              <a:rPr lang="en-US" dirty="0">
                <a:solidFill>
                  <a:srgbClr val="FFFFFF"/>
                </a:solidFill>
              </a:rPr>
              <a:t>Why is this important?</a:t>
            </a:r>
          </a:p>
          <a:p>
            <a:r>
              <a:rPr lang="en-US" dirty="0">
                <a:solidFill>
                  <a:srgbClr val="FFFFFF"/>
                </a:solidFill>
              </a:rPr>
              <a:t>What audience do you want in your session?</a:t>
            </a:r>
          </a:p>
          <a:p>
            <a:r>
              <a:rPr lang="en-US" dirty="0">
                <a:solidFill>
                  <a:srgbClr val="FFFFFF"/>
                </a:solidFill>
              </a:rPr>
              <a:t>Program committee balancing conference sessions</a:t>
            </a:r>
          </a:p>
          <a:p>
            <a:endParaRPr lang="en-US" dirty="0">
              <a:solidFill>
                <a:srgbClr val="FFFFFF"/>
              </a:solidFill>
            </a:endParaRPr>
          </a:p>
          <a:p>
            <a:r>
              <a:rPr lang="en-US" dirty="0">
                <a:solidFill>
                  <a:srgbClr val="FFFFFF"/>
                </a:solidFill>
              </a:rPr>
              <a:t>(Just be prepared – not all attendees reads session level …)</a:t>
            </a:r>
          </a:p>
          <a:p>
            <a:endParaRPr lang="en-US" dirty="0">
              <a:solidFill>
                <a:srgbClr val="FFFFFF"/>
              </a:solidFill>
            </a:endParaRPr>
          </a:p>
        </p:txBody>
      </p:sp>
    </p:spTree>
    <p:extLst>
      <p:ext uri="{BB962C8B-B14F-4D97-AF65-F5344CB8AC3E}">
        <p14:creationId xmlns:p14="http://schemas.microsoft.com/office/powerpoint/2010/main" val="3530761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4" name="Rectangle 13">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A5C033C-60D3-4CB7-A8FD-E9D54D49412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a:t>The goals</a:t>
            </a:r>
          </a:p>
        </p:txBody>
      </p:sp>
      <p:sp>
        <p:nvSpPr>
          <p:cNvPr id="18" name="Rectangle 17">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phic 6" descr="Clipboard Checked with solid fill">
            <a:extLst>
              <a:ext uri="{FF2B5EF4-FFF2-40B4-BE49-F238E27FC236}">
                <a16:creationId xmlns:a16="http://schemas.microsoft.com/office/drawing/2014/main" id="{C79E2990-A2E6-4285-9DE1-C5AB2377A7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0771" y="1535135"/>
            <a:ext cx="3778286" cy="3778286"/>
          </a:xfrm>
          <a:prstGeom prst="rect">
            <a:avLst/>
          </a:prstGeom>
        </p:spPr>
      </p:pic>
      <p:sp>
        <p:nvSpPr>
          <p:cNvPr id="3" name="Text Placeholder 2">
            <a:extLst>
              <a:ext uri="{FF2B5EF4-FFF2-40B4-BE49-F238E27FC236}">
                <a16:creationId xmlns:a16="http://schemas.microsoft.com/office/drawing/2014/main" id="{FF80A979-EE21-42FA-947D-39BC46B9873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r>
              <a:rPr lang="en-US" dirty="0">
                <a:solidFill>
                  <a:srgbClr val="FFFFFF"/>
                </a:solidFill>
              </a:rPr>
              <a:t>What do you hope the attendees will take from your session?</a:t>
            </a:r>
          </a:p>
          <a:p>
            <a:r>
              <a:rPr lang="en-US" dirty="0">
                <a:solidFill>
                  <a:srgbClr val="FFFFFF"/>
                </a:solidFill>
              </a:rPr>
              <a:t>Not always in use, but useful as a planning tool for yourself</a:t>
            </a:r>
          </a:p>
          <a:p>
            <a:endParaRPr lang="en-US" dirty="0">
              <a:solidFill>
                <a:srgbClr val="FFFFFF"/>
              </a:solidFill>
            </a:endParaRPr>
          </a:p>
        </p:txBody>
      </p:sp>
    </p:spTree>
    <p:extLst>
      <p:ext uri="{BB962C8B-B14F-4D97-AF65-F5344CB8AC3E}">
        <p14:creationId xmlns:p14="http://schemas.microsoft.com/office/powerpoint/2010/main" val="720986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645BF8-7885-4398-80BC-4C0DF24F5C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3212FB65-CD2B-4005-B910-132DCE19F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4" name="Rectangle 13">
            <a:extLst>
              <a:ext uri="{FF2B5EF4-FFF2-40B4-BE49-F238E27FC236}">
                <a16:creationId xmlns:a16="http://schemas.microsoft.com/office/drawing/2014/main" id="{EE9F5D7F-1BBC-4096-ADA7-AA9C9E4D28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D370DD-716B-4528-B475-331F84CEA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514" y="758953"/>
            <a:ext cx="7052486"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A5C033C-60D3-4CB7-A8FD-E9D54D49412B}"/>
              </a:ext>
            </a:extLst>
          </p:cNvPr>
          <p:cNvSpPr>
            <a:spLocks noGrp="1"/>
          </p:cNvSpPr>
          <p:nvPr>
            <p:ph type="title"/>
          </p:nvPr>
        </p:nvSpPr>
        <p:spPr>
          <a:xfrm>
            <a:off x="5451642" y="1123837"/>
            <a:ext cx="6451110" cy="1255469"/>
          </a:xfrm>
        </p:spPr>
        <p:txBody>
          <a:bodyPr vert="horz" lIns="91440" tIns="45720" rIns="91440" bIns="45720" rtlCol="0" anchor="ctr">
            <a:normAutofit/>
          </a:bodyPr>
          <a:lstStyle/>
          <a:p>
            <a:r>
              <a:rPr lang="en-US" dirty="0"/>
              <a:t>The body</a:t>
            </a:r>
          </a:p>
        </p:txBody>
      </p:sp>
      <p:sp>
        <p:nvSpPr>
          <p:cNvPr id="18" name="Rectangle 17">
            <a:extLst>
              <a:ext uri="{FF2B5EF4-FFF2-40B4-BE49-F238E27FC236}">
                <a16:creationId xmlns:a16="http://schemas.microsoft.com/office/drawing/2014/main" id="{E79D076F-656A-4CD9-83AD-AF8F4B28CA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phic 6" descr="Body builder with solid fill">
            <a:extLst>
              <a:ext uri="{FF2B5EF4-FFF2-40B4-BE49-F238E27FC236}">
                <a16:creationId xmlns:a16="http://schemas.microsoft.com/office/drawing/2014/main" id="{C79E2990-A2E6-4285-9DE1-C5AB2377A7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60771" y="1535135"/>
            <a:ext cx="3778286" cy="3778286"/>
          </a:xfrm>
          <a:prstGeom prst="rect">
            <a:avLst/>
          </a:prstGeom>
        </p:spPr>
      </p:pic>
      <p:sp>
        <p:nvSpPr>
          <p:cNvPr id="3" name="Text Placeholder 2">
            <a:extLst>
              <a:ext uri="{FF2B5EF4-FFF2-40B4-BE49-F238E27FC236}">
                <a16:creationId xmlns:a16="http://schemas.microsoft.com/office/drawing/2014/main" id="{FF80A979-EE21-42FA-947D-39BC46B98732}"/>
              </a:ext>
            </a:extLst>
          </p:cNvPr>
          <p:cNvSpPr>
            <a:spLocks noGrp="1"/>
          </p:cNvSpPr>
          <p:nvPr>
            <p:ph type="body" sz="quarter" idx="10"/>
          </p:nvPr>
        </p:nvSpPr>
        <p:spPr>
          <a:xfrm>
            <a:off x="5451644" y="2510395"/>
            <a:ext cx="6451109" cy="3274586"/>
          </a:xfrm>
        </p:spPr>
        <p:txBody>
          <a:bodyPr vert="horz" lIns="91440" tIns="45720" rIns="91440" bIns="45720" rtlCol="0" anchor="t">
            <a:normAutofit/>
          </a:bodyPr>
          <a:lstStyle/>
          <a:p>
            <a:r>
              <a:rPr lang="en-US" dirty="0">
                <a:solidFill>
                  <a:srgbClr val="FFFFFF"/>
                </a:solidFill>
              </a:rPr>
              <a:t>Target group: Yourself </a:t>
            </a:r>
          </a:p>
          <a:p>
            <a:endParaRPr lang="en-US" dirty="0">
              <a:solidFill>
                <a:srgbClr val="FFFFFF"/>
              </a:solidFill>
            </a:endParaRPr>
          </a:p>
          <a:p>
            <a:r>
              <a:rPr lang="en-US" dirty="0">
                <a:solidFill>
                  <a:srgbClr val="FFFFFF"/>
                </a:solidFill>
              </a:rPr>
              <a:t>This is what my session will cover.</a:t>
            </a:r>
          </a:p>
          <a:p>
            <a:endParaRPr lang="en-US" dirty="0">
              <a:solidFill>
                <a:srgbClr val="FFFFFF"/>
              </a:solidFill>
            </a:endParaRPr>
          </a:p>
          <a:p>
            <a:endParaRPr lang="en-US" dirty="0">
              <a:solidFill>
                <a:srgbClr val="FFFFFF"/>
              </a:solidFill>
            </a:endParaRPr>
          </a:p>
          <a:p>
            <a:r>
              <a:rPr lang="en-US" dirty="0">
                <a:solidFill>
                  <a:srgbClr val="FFFFFF"/>
                </a:solidFill>
              </a:rPr>
              <a:t>Why?</a:t>
            </a:r>
          </a:p>
          <a:p>
            <a:r>
              <a:rPr lang="en-US" dirty="0">
                <a:solidFill>
                  <a:srgbClr val="FFFFFF"/>
                </a:solidFill>
              </a:rPr>
              <a:t>Abstract is written before session – but can help focus it.</a:t>
            </a:r>
          </a:p>
          <a:p>
            <a:endParaRPr lang="en-US" dirty="0">
              <a:solidFill>
                <a:srgbClr val="FFFFFF"/>
              </a:solidFill>
            </a:endParaRPr>
          </a:p>
          <a:p>
            <a:endParaRPr lang="en-US" dirty="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226233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vD5SE5IaOVUnBDCjIBT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vent_them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5" id="{2991E1F0-F3F9-4A43-8BC6-DCE424F84440}" vid="{C3A26EBD-7BBC-454A-AA85-1719C77AEA3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pgemini_Template.potx  -  Read-Only" id="{5FB047EF-2457-4A74-8BDF-DEFD5E40A6D0}" vid="{85D2C764-29AE-40EC-A4FC-111E7FA21F4B}"/>
    </a:ext>
  </a:extLst>
</a:theme>
</file>

<file path=ppt/theme/theme3.xml><?xml version="1.0" encoding="utf-8"?>
<a:theme xmlns:a="http://schemas.openxmlformats.org/drawingml/2006/main" name="Frame">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1</Template>
  <TotalTime>7395</TotalTime>
  <Words>572</Words>
  <Application>Microsoft Office PowerPoint</Application>
  <PresentationFormat>Widescreen</PresentationFormat>
  <Paragraphs>116</Paragraphs>
  <Slides>20</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0" baseType="lpstr">
      <vt:lpstr>Arial</vt:lpstr>
      <vt:lpstr>Corbel</vt:lpstr>
      <vt:lpstr>Open Sans</vt:lpstr>
      <vt:lpstr>Verdana</vt:lpstr>
      <vt:lpstr>Wingdings</vt:lpstr>
      <vt:lpstr>Wingdings 2</vt:lpstr>
      <vt:lpstr>1_Invent_theme</vt:lpstr>
      <vt:lpstr>Content Layouts</vt:lpstr>
      <vt:lpstr>Frame</vt:lpstr>
      <vt:lpstr>think-cell Slide</vt:lpstr>
      <vt:lpstr>How to write an abstract that catches everyone's attention</vt:lpstr>
      <vt:lpstr>Agenda</vt:lpstr>
      <vt:lpstr>So, what is an abstract?</vt:lpstr>
      <vt:lpstr>Who is your abstract for?</vt:lpstr>
      <vt:lpstr>The components of an abstract</vt:lpstr>
      <vt:lpstr>Additional information</vt:lpstr>
      <vt:lpstr>Additional information</vt:lpstr>
      <vt:lpstr>The goals</vt:lpstr>
      <vt:lpstr>The body</vt:lpstr>
      <vt:lpstr>The body</vt:lpstr>
      <vt:lpstr>The body</vt:lpstr>
      <vt:lpstr>The body</vt:lpstr>
      <vt:lpstr>The body</vt:lpstr>
      <vt:lpstr>The blurb</vt:lpstr>
      <vt:lpstr>The blurb</vt:lpstr>
      <vt:lpstr>The title</vt:lpstr>
      <vt:lpstr>The title</vt:lpstr>
      <vt:lpstr>Additional information</vt:lpstr>
      <vt:lpstr>DISCLAIM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rattås, Johan Ludvig</dc:creator>
  <cp:lastModifiedBy>Brattås, Johan Ludvig</cp:lastModifiedBy>
  <cp:revision>12</cp:revision>
  <dcterms:created xsi:type="dcterms:W3CDTF">2021-05-23T13:47:02Z</dcterms:created>
  <dcterms:modified xsi:type="dcterms:W3CDTF">2021-09-29T20:36:00Z</dcterms:modified>
</cp:coreProperties>
</file>